
<file path=[Content_Types].xml><?xml version="1.0" encoding="utf-8"?>
<Types xmlns="http://schemas.openxmlformats.org/package/2006/content-types"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20"/>
  </p:notesMasterIdLst>
  <p:sldIdLst>
    <p:sldId id="350" r:id="rId2"/>
    <p:sldId id="1252" r:id="rId3"/>
    <p:sldId id="1099" r:id="rId4"/>
    <p:sldId id="1249" r:id="rId5"/>
    <p:sldId id="1116" r:id="rId6"/>
    <p:sldId id="1253" r:id="rId7"/>
    <p:sldId id="1251" r:id="rId8"/>
    <p:sldId id="1254" r:id="rId9"/>
    <p:sldId id="1255" r:id="rId10"/>
    <p:sldId id="1256" r:id="rId11"/>
    <p:sldId id="1257" r:id="rId12"/>
    <p:sldId id="1261" r:id="rId13"/>
    <p:sldId id="1258" r:id="rId14"/>
    <p:sldId id="1234" r:id="rId15"/>
    <p:sldId id="1259" r:id="rId16"/>
    <p:sldId id="1260" r:id="rId17"/>
    <p:sldId id="1076" r:id="rId18"/>
    <p:sldId id="396" r:id="rId19"/>
  </p:sldIdLst>
  <p:sldSz cx="9144000" cy="5143500" type="screen16x9"/>
  <p:notesSz cx="6797675" cy="9926638"/>
  <p:defaultTextStyle>
    <a:defPPr>
      <a:defRPr lang="de-DE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4D92AC7-D7E8-4F70-92D7-3F7EC71638B1}" v="2085" dt="2023-01-25T15:13:26.24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912" autoAdjust="0"/>
  </p:normalViewPr>
  <p:slideViewPr>
    <p:cSldViewPr snapToObjects="1">
      <p:cViewPr varScale="1">
        <p:scale>
          <a:sx n="74" d="100"/>
          <a:sy n="74" d="100"/>
        </p:scale>
        <p:origin x="1084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8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microsoft.com/office/2015/10/relationships/revisionInfo" Target="revisionInfo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8056"/>
          </a:xfrm>
          <a:prstGeom prst="rect">
            <a:avLst/>
          </a:prstGeom>
        </p:spPr>
        <p:txBody>
          <a:bodyPr vert="horz" lIns="95549" tIns="47775" rIns="95549" bIns="47775" rtlCol="0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5549" tIns="47775" rIns="95549" bIns="47775" rtlCol="0"/>
          <a:lstStyle>
            <a:lvl1pPr algn="r">
              <a:defRPr sz="1300"/>
            </a:lvl1pPr>
          </a:lstStyle>
          <a:p>
            <a:fld id="{0F2728AD-B8FF-467B-AF5F-4891412E46D0}" type="datetimeFigureOut">
              <a:rPr lang="de-DE" smtClean="0"/>
              <a:t>25.01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549" tIns="47775" rIns="95549" bIns="47775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77195"/>
            <a:ext cx="5438140" cy="3908614"/>
          </a:xfrm>
          <a:prstGeom prst="rect">
            <a:avLst/>
          </a:prstGeom>
        </p:spPr>
        <p:txBody>
          <a:bodyPr vert="horz" lIns="95549" tIns="47775" rIns="95549" bIns="47775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9428586"/>
            <a:ext cx="2945659" cy="498055"/>
          </a:xfrm>
          <a:prstGeom prst="rect">
            <a:avLst/>
          </a:prstGeom>
        </p:spPr>
        <p:txBody>
          <a:bodyPr vert="horz" lIns="95549" tIns="47775" rIns="95549" bIns="47775" rtlCol="0" anchor="b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6"/>
            <a:ext cx="2945659" cy="498055"/>
          </a:xfrm>
          <a:prstGeom prst="rect">
            <a:avLst/>
          </a:prstGeom>
        </p:spPr>
        <p:txBody>
          <a:bodyPr vert="horz" lIns="95549" tIns="47775" rIns="95549" bIns="47775" rtlCol="0" anchor="b"/>
          <a:lstStyle>
            <a:lvl1pPr algn="r">
              <a:defRPr sz="1300"/>
            </a:lvl1pPr>
          </a:lstStyle>
          <a:p>
            <a:fld id="{B9A045E6-D734-4DB2-BEE5-DF972DD20CA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65023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061988-3118-414D-A571-26E5ECCCF074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477745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468000" y="4230000"/>
            <a:ext cx="7560000" cy="324000"/>
          </a:xfrm>
        </p:spPr>
        <p:txBody>
          <a:bodyPr/>
          <a:lstStyle>
            <a:lvl1pPr marL="0" indent="0" algn="l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2"/>
                </a:solidFill>
              </a:defRPr>
            </a:lvl1pPr>
            <a:lvl2pPr marL="0" indent="0" algn="l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2"/>
                </a:solidFill>
              </a:defRPr>
            </a:lvl2pPr>
            <a:lvl3pPr marL="0" indent="0" algn="l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2"/>
                </a:solidFill>
              </a:defRPr>
            </a:lvl3pPr>
            <a:lvl4pPr marL="0" indent="0" algn="l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2"/>
                </a:solidFill>
              </a:defRPr>
            </a:lvl4pPr>
            <a:lvl5pPr marL="0" indent="0" algn="l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2"/>
                </a:solidFill>
              </a:defRPr>
            </a:lvl5pPr>
            <a:lvl6pPr marL="0" indent="0" algn="l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2"/>
                </a:solidFill>
              </a:defRPr>
            </a:lvl6pPr>
            <a:lvl7pPr marL="0" indent="0" algn="l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2"/>
                </a:solidFill>
              </a:defRPr>
            </a:lvl7pPr>
            <a:lvl8pPr marL="0" indent="0" algn="l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2"/>
                </a:solidFill>
              </a:defRPr>
            </a:lvl8pPr>
            <a:lvl9pPr marL="0" indent="0" algn="l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2"/>
                </a:solidFill>
              </a:defRPr>
            </a:lvl9pPr>
          </a:lstStyle>
          <a:p>
            <a:pPr lvl="0"/>
            <a:r>
              <a:rPr lang="de-DE" dirty="0"/>
              <a:t>Untertitel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>
          <a:xfrm>
            <a:off x="468000" y="4680000"/>
            <a:ext cx="7560000" cy="144000"/>
          </a:xfrm>
        </p:spPr>
        <p:txBody>
          <a:bodyPr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70D81F06-1D47-4C44-8C29-89662B0E161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68000" y="3499200"/>
            <a:ext cx="2505600" cy="173898"/>
          </a:xfrm>
          <a:prstGeom prst="rect">
            <a:avLst/>
          </a:prstGeom>
        </p:spPr>
      </p:pic>
      <p:sp>
        <p:nvSpPr>
          <p:cNvPr id="22" name="Bildplatzhalter 21">
            <a:extLst>
              <a:ext uri="{FF2B5EF4-FFF2-40B4-BE49-F238E27FC236}">
                <a16:creationId xmlns:a16="http://schemas.microsoft.com/office/drawing/2014/main" id="{84C7B36F-18FD-48F5-9A0D-FC40AEE68D0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-1"/>
            <a:ext cx="8182800" cy="3186000"/>
          </a:xfrm>
          <a:custGeom>
            <a:avLst/>
            <a:gdLst>
              <a:gd name="connsiteX0" fmla="*/ 0 w 8182800"/>
              <a:gd name="connsiteY0" fmla="*/ 0 h 3186000"/>
              <a:gd name="connsiteX1" fmla="*/ 8182800 w 8182800"/>
              <a:gd name="connsiteY1" fmla="*/ 0 h 3186000"/>
              <a:gd name="connsiteX2" fmla="*/ 8182800 w 8182800"/>
              <a:gd name="connsiteY2" fmla="*/ 1 h 3186000"/>
              <a:gd name="connsiteX3" fmla="*/ 7225201 w 8182800"/>
              <a:gd name="connsiteY3" fmla="*/ 1 h 3186000"/>
              <a:gd name="connsiteX4" fmla="*/ 7225201 w 8182800"/>
              <a:gd name="connsiteY4" fmla="*/ 1440001 h 3186000"/>
              <a:gd name="connsiteX5" fmla="*/ 8182800 w 8182800"/>
              <a:gd name="connsiteY5" fmla="*/ 1440001 h 3186000"/>
              <a:gd name="connsiteX6" fmla="*/ 8182800 w 8182800"/>
              <a:gd name="connsiteY6" fmla="*/ 3186000 h 3186000"/>
              <a:gd name="connsiteX7" fmla="*/ 0 w 8182800"/>
              <a:gd name="connsiteY7" fmla="*/ 3186000 h 318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182800" h="3186000">
                <a:moveTo>
                  <a:pt x="0" y="0"/>
                </a:moveTo>
                <a:lnTo>
                  <a:pt x="8182800" y="0"/>
                </a:lnTo>
                <a:lnTo>
                  <a:pt x="8182800" y="1"/>
                </a:lnTo>
                <a:lnTo>
                  <a:pt x="7225201" y="1"/>
                </a:lnTo>
                <a:lnTo>
                  <a:pt x="7225201" y="1440001"/>
                </a:lnTo>
                <a:lnTo>
                  <a:pt x="8182800" y="1440001"/>
                </a:lnTo>
                <a:lnTo>
                  <a:pt x="8182800" y="3186000"/>
                </a:lnTo>
                <a:lnTo>
                  <a:pt x="0" y="3186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C28E9FB3-DC3C-4E55-9877-2DEEAAB3290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225200" y="0"/>
            <a:ext cx="1440362" cy="1440000"/>
          </a:xfrm>
          <a:prstGeom prst="rect">
            <a:avLst/>
          </a:prstGeom>
        </p:spPr>
      </p:pic>
      <p:sp>
        <p:nvSpPr>
          <p:cNvPr id="23" name="Titel 22">
            <a:extLst>
              <a:ext uri="{FF2B5EF4-FFF2-40B4-BE49-F238E27FC236}">
                <a16:creationId xmlns:a16="http://schemas.microsoft.com/office/drawing/2014/main" id="{259FB325-4F00-4E24-9BB5-CBE59A8EE6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3895200"/>
            <a:ext cx="3527936" cy="324000"/>
          </a:xfrm>
        </p:spPr>
        <p:txBody>
          <a:bodyPr/>
          <a:lstStyle>
            <a:lvl1pPr>
              <a:lnSpc>
                <a:spcPts val="2500"/>
              </a:lnSpc>
              <a:defRPr cap="all" baseline="0"/>
            </a:lvl1pPr>
          </a:lstStyle>
          <a:p>
            <a:pPr lvl="0"/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EA11C8C5-D6EB-4C5D-9539-1ADEFC0908B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677199" y="3895200"/>
            <a:ext cx="2505600" cy="324000"/>
          </a:xfrm>
        </p:spPr>
        <p:txBody>
          <a:bodyPr anchor="ctr" anchorCtr="0"/>
          <a:lstStyle>
            <a:lvl1pPr algn="ctr">
              <a:defRPr sz="1050"/>
            </a:lvl1pPr>
          </a:lstStyle>
          <a:p>
            <a:r>
              <a:rPr lang="de-DE" dirty="0"/>
              <a:t>Logo auf Platzhalter ziehen</a:t>
            </a:r>
          </a:p>
        </p:txBody>
      </p:sp>
    </p:spTree>
    <p:extLst>
      <p:ext uri="{BB962C8B-B14F-4D97-AF65-F5344CB8AC3E}">
        <p14:creationId xmlns:p14="http://schemas.microsoft.com/office/powerpoint/2010/main" val="72258621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ilder inkl.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EC3A98A1-0379-4B57-A126-017C70E1949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68000" y="954000"/>
            <a:ext cx="3960000" cy="264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97D7879-BA70-4DD0-99E9-74C1A1FA34B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B422CC4-3EFE-4A06-B194-FAB2C24ECED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DC3B07E-B021-4B5C-9450-33EDD58444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000" y="3708000"/>
            <a:ext cx="3960000" cy="576000"/>
          </a:xfrm>
        </p:spPr>
        <p:txBody>
          <a:bodyPr/>
          <a:lstStyle>
            <a:lvl1pPr>
              <a:lnSpc>
                <a:spcPts val="1200"/>
              </a:lnSpc>
              <a:spcAft>
                <a:spcPts val="0"/>
              </a:spcAft>
              <a:defRPr sz="900"/>
            </a:lvl1pPr>
            <a:lvl2pPr>
              <a:lnSpc>
                <a:spcPts val="1200"/>
              </a:lnSpc>
              <a:spcAft>
                <a:spcPts val="0"/>
              </a:spcAft>
              <a:defRPr sz="900"/>
            </a:lvl2pPr>
            <a:lvl3pPr>
              <a:lnSpc>
                <a:spcPts val="1200"/>
              </a:lnSpc>
              <a:spcAft>
                <a:spcPts val="0"/>
              </a:spcAft>
              <a:defRPr sz="900"/>
            </a:lvl3pPr>
            <a:lvl4pPr>
              <a:lnSpc>
                <a:spcPts val="1200"/>
              </a:lnSpc>
              <a:spcAft>
                <a:spcPts val="0"/>
              </a:spcAft>
              <a:defRPr sz="900"/>
            </a:lvl4pPr>
            <a:lvl5pPr>
              <a:lnSpc>
                <a:spcPts val="1200"/>
              </a:lnSpc>
              <a:spcAft>
                <a:spcPts val="0"/>
              </a:spcAft>
              <a:defRPr sz="900"/>
            </a:lvl5pPr>
            <a:lvl6pPr>
              <a:lnSpc>
                <a:spcPts val="1200"/>
              </a:lnSpc>
              <a:spcAft>
                <a:spcPts val="0"/>
              </a:spcAft>
              <a:defRPr sz="900"/>
            </a:lvl6pPr>
            <a:lvl7pPr>
              <a:lnSpc>
                <a:spcPts val="1200"/>
              </a:lnSpc>
              <a:spcAft>
                <a:spcPts val="0"/>
              </a:spcAft>
              <a:defRPr sz="900"/>
            </a:lvl7pPr>
            <a:lvl8pPr>
              <a:lnSpc>
                <a:spcPts val="1200"/>
              </a:lnSpc>
              <a:spcAft>
                <a:spcPts val="0"/>
              </a:spcAft>
              <a:defRPr sz="900"/>
            </a:lvl8pPr>
            <a:lvl9pPr>
              <a:lnSpc>
                <a:spcPts val="1200"/>
              </a:lnSpc>
              <a:spcAft>
                <a:spcPts val="0"/>
              </a:spcAft>
              <a:defRPr sz="900"/>
            </a:lvl9pPr>
          </a:lstStyle>
          <a:p>
            <a:pPr lvl="0"/>
            <a:r>
              <a:rPr lang="de-DE" dirty="0"/>
              <a:t>Bildunterzeile // für weitere Ebenen (Text)  &gt;&gt; Menü &gt; Start &gt; Absatz &gt; Listenebene erhöhen </a:t>
            </a:r>
          </a:p>
          <a:p>
            <a:pPr lvl="1"/>
            <a:r>
              <a:rPr lang="de-DE" dirty="0"/>
              <a:t>Zweite Ebene</a:t>
            </a:r>
          </a:p>
        </p:txBody>
      </p:sp>
      <p:sp>
        <p:nvSpPr>
          <p:cNvPr id="8" name="Bildplatzhalter 6">
            <a:extLst>
              <a:ext uri="{FF2B5EF4-FFF2-40B4-BE49-F238E27FC236}">
                <a16:creationId xmlns:a16="http://schemas.microsoft.com/office/drawing/2014/main" id="{CFABEA7C-7103-4FAC-AAB1-B8FF0684867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680000" y="954000"/>
            <a:ext cx="3960000" cy="264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9CA26BD8-E4CD-4A9F-ACC0-895F1FD2744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0000" y="3708000"/>
            <a:ext cx="3960000" cy="576000"/>
          </a:xfrm>
        </p:spPr>
        <p:txBody>
          <a:bodyPr/>
          <a:lstStyle>
            <a:lvl1pPr>
              <a:lnSpc>
                <a:spcPts val="1200"/>
              </a:lnSpc>
              <a:spcAft>
                <a:spcPts val="0"/>
              </a:spcAft>
              <a:defRPr sz="900"/>
            </a:lvl1pPr>
            <a:lvl2pPr>
              <a:lnSpc>
                <a:spcPts val="1200"/>
              </a:lnSpc>
              <a:spcAft>
                <a:spcPts val="0"/>
              </a:spcAft>
              <a:defRPr sz="900"/>
            </a:lvl2pPr>
            <a:lvl3pPr>
              <a:lnSpc>
                <a:spcPts val="1200"/>
              </a:lnSpc>
              <a:spcAft>
                <a:spcPts val="0"/>
              </a:spcAft>
              <a:defRPr sz="900"/>
            </a:lvl3pPr>
            <a:lvl4pPr>
              <a:lnSpc>
                <a:spcPts val="1200"/>
              </a:lnSpc>
              <a:spcAft>
                <a:spcPts val="0"/>
              </a:spcAft>
              <a:defRPr sz="900"/>
            </a:lvl4pPr>
            <a:lvl5pPr>
              <a:lnSpc>
                <a:spcPts val="1200"/>
              </a:lnSpc>
              <a:spcAft>
                <a:spcPts val="0"/>
              </a:spcAft>
              <a:defRPr sz="900"/>
            </a:lvl5pPr>
            <a:lvl6pPr>
              <a:lnSpc>
                <a:spcPts val="1200"/>
              </a:lnSpc>
              <a:spcAft>
                <a:spcPts val="0"/>
              </a:spcAft>
              <a:defRPr sz="900"/>
            </a:lvl6pPr>
            <a:lvl7pPr>
              <a:lnSpc>
                <a:spcPts val="1200"/>
              </a:lnSpc>
              <a:spcAft>
                <a:spcPts val="0"/>
              </a:spcAft>
              <a:defRPr sz="900"/>
            </a:lvl7pPr>
            <a:lvl8pPr>
              <a:lnSpc>
                <a:spcPts val="1200"/>
              </a:lnSpc>
              <a:spcAft>
                <a:spcPts val="0"/>
              </a:spcAft>
              <a:defRPr sz="900"/>
            </a:lvl8pPr>
            <a:lvl9pPr>
              <a:lnSpc>
                <a:spcPts val="1200"/>
              </a:lnSpc>
              <a:spcAft>
                <a:spcPts val="0"/>
              </a:spcAft>
              <a:defRPr sz="900"/>
            </a:lvl9pPr>
          </a:lstStyle>
          <a:p>
            <a:pPr lvl="0"/>
            <a:r>
              <a:rPr lang="de-DE" dirty="0"/>
              <a:t>Bildunterzeile // für weitere Ebenen (Text)  &gt;&gt; Menü &gt; Start &gt; Absatz &gt; Listenebene erhöhen </a:t>
            </a:r>
          </a:p>
          <a:p>
            <a:pPr lvl="1"/>
            <a:r>
              <a:rPr lang="de-DE" dirty="0"/>
              <a:t>Zweite Eben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0B3784F-BC20-4A45-986C-728B00F596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KAPITEL | CHART-HEADLINE</a:t>
            </a:r>
          </a:p>
        </p:txBody>
      </p:sp>
    </p:spTree>
    <p:extLst>
      <p:ext uri="{BB962C8B-B14F-4D97-AF65-F5344CB8AC3E}">
        <p14:creationId xmlns:p14="http://schemas.microsoft.com/office/powerpoint/2010/main" val="42622507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45">
          <p15:clr>
            <a:srgbClr val="FBAE40"/>
          </p15:clr>
        </p15:guide>
        <p15:guide id="3" orient="horz" pos="596" userDrawn="1">
          <p15:clr>
            <a:srgbClr val="FBAE40"/>
          </p15:clr>
        </p15:guide>
        <p15:guide id="4" orient="horz" pos="2269" userDrawn="1">
          <p15:clr>
            <a:srgbClr val="FBAE40"/>
          </p15:clr>
        </p15:guide>
        <p15:guide id="5" pos="2790">
          <p15:clr>
            <a:srgbClr val="FBAE40"/>
          </p15:clr>
        </p15:guide>
        <p15:guide id="6" pos="544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Text /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KAPITEL | CHART-HEADLIN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68000" y="918000"/>
            <a:ext cx="3240000" cy="33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 auf erster Ebene // für weitere Ebenen &gt;&gt; Menü &gt; Start &gt; Absatz &gt; Listenebene erhöh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261E425-9AF3-4B68-A7DE-55697E59E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C8FE19E-1A66-4F06-9454-D8ECA4880C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6DB40BEE-2C74-4B7C-AA75-FB330D4E18B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104000" y="954000"/>
            <a:ext cx="4536000" cy="3024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41199913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83" userDrawn="1">
          <p15:clr>
            <a:srgbClr val="FBAE40"/>
          </p15:clr>
        </p15:guide>
        <p15:guide id="2" pos="5444" userDrawn="1">
          <p15:clr>
            <a:srgbClr val="FBAE40"/>
          </p15:clr>
        </p15:guide>
        <p15:guide id="3" orient="horz" pos="596" userDrawn="1">
          <p15:clr>
            <a:srgbClr val="FBAE40"/>
          </p15:clr>
        </p15:guide>
        <p15:guide id="4" orient="horz" pos="2509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Text / Bild inkl. Bildunterze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KAPITEL | CHART-HEADLIN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68000" y="918000"/>
            <a:ext cx="4104000" cy="33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 auf erster Ebene // für weitere Ebenen &gt;&gt; Menü &gt; Start &gt; Absatz &gt; Listenebene erhöh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261E425-9AF3-4B68-A7DE-55697E59E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C8FE19E-1A66-4F06-9454-D8ECA4880C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6DB40BEE-2C74-4B7C-AA75-FB330D4E18B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680000" y="954000"/>
            <a:ext cx="3960000" cy="264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E8C92916-9C2D-4160-84A7-92C7AE8CF3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0000" y="3708000"/>
            <a:ext cx="3960000" cy="576000"/>
          </a:xfrm>
        </p:spPr>
        <p:txBody>
          <a:bodyPr/>
          <a:lstStyle>
            <a:lvl1pPr>
              <a:lnSpc>
                <a:spcPts val="1200"/>
              </a:lnSpc>
              <a:spcAft>
                <a:spcPts val="0"/>
              </a:spcAft>
              <a:defRPr sz="900"/>
            </a:lvl1pPr>
            <a:lvl2pPr>
              <a:lnSpc>
                <a:spcPts val="1200"/>
              </a:lnSpc>
              <a:spcAft>
                <a:spcPts val="0"/>
              </a:spcAft>
              <a:defRPr sz="900"/>
            </a:lvl2pPr>
            <a:lvl3pPr>
              <a:lnSpc>
                <a:spcPts val="1200"/>
              </a:lnSpc>
              <a:spcAft>
                <a:spcPts val="0"/>
              </a:spcAft>
              <a:defRPr sz="900"/>
            </a:lvl3pPr>
            <a:lvl4pPr>
              <a:lnSpc>
                <a:spcPts val="1200"/>
              </a:lnSpc>
              <a:spcAft>
                <a:spcPts val="0"/>
              </a:spcAft>
              <a:defRPr sz="900"/>
            </a:lvl4pPr>
            <a:lvl5pPr>
              <a:lnSpc>
                <a:spcPts val="1200"/>
              </a:lnSpc>
              <a:spcAft>
                <a:spcPts val="0"/>
              </a:spcAft>
              <a:defRPr sz="900"/>
            </a:lvl5pPr>
            <a:lvl6pPr>
              <a:lnSpc>
                <a:spcPts val="1200"/>
              </a:lnSpc>
              <a:spcAft>
                <a:spcPts val="0"/>
              </a:spcAft>
              <a:defRPr sz="900"/>
            </a:lvl6pPr>
            <a:lvl7pPr>
              <a:lnSpc>
                <a:spcPts val="1200"/>
              </a:lnSpc>
              <a:spcAft>
                <a:spcPts val="0"/>
              </a:spcAft>
              <a:defRPr sz="900"/>
            </a:lvl7pPr>
            <a:lvl8pPr>
              <a:lnSpc>
                <a:spcPts val="1200"/>
              </a:lnSpc>
              <a:spcAft>
                <a:spcPts val="0"/>
              </a:spcAft>
              <a:defRPr sz="900"/>
            </a:lvl8pPr>
            <a:lvl9pPr>
              <a:lnSpc>
                <a:spcPts val="1200"/>
              </a:lnSpc>
              <a:spcAft>
                <a:spcPts val="0"/>
              </a:spcAft>
              <a:defRPr sz="900"/>
            </a:lvl9pPr>
          </a:lstStyle>
          <a:p>
            <a:pPr lvl="0"/>
            <a:r>
              <a:rPr lang="de-DE" dirty="0"/>
              <a:t>Bildunterzeile // für weitere Ebenen (Text)  &gt;&gt; Menü &gt; Start &gt; Absatz &gt; Listenebene erhöhen </a:t>
            </a:r>
          </a:p>
          <a:p>
            <a:pPr lvl="0"/>
            <a:endParaRPr lang="de-DE" dirty="0"/>
          </a:p>
          <a:p>
            <a:pPr lvl="1"/>
            <a:r>
              <a:rPr lang="de-DE" dirty="0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35871941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45" userDrawn="1">
          <p15:clr>
            <a:srgbClr val="FBAE40"/>
          </p15:clr>
        </p15:guide>
        <p15:guide id="2" pos="5444" userDrawn="1">
          <p15:clr>
            <a:srgbClr val="FBAE40"/>
          </p15:clr>
        </p15:guide>
        <p15:guide id="3" orient="horz" pos="596" userDrawn="1">
          <p15:clr>
            <a:srgbClr val="FBAE40"/>
          </p15:clr>
        </p15:guide>
        <p15:guide id="4" orient="horz" pos="2269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Bild inkl. Bildunterzeile /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KAPITEL | CHART-HEADLIN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220000" y="918000"/>
            <a:ext cx="3420000" cy="33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 auf erster Ebene // für weitere Ebenen &gt;&gt; Menü &gt; Start &gt; Absatz &gt; Listenebene erhöh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261E425-9AF3-4B68-A7DE-55697E59E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C8FE19E-1A66-4F06-9454-D8ECA4880C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6DB40BEE-2C74-4B7C-AA75-FB330D4E18B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68000" y="954000"/>
            <a:ext cx="3960000" cy="264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E8C92916-9C2D-4160-84A7-92C7AE8CF3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000" y="3708000"/>
            <a:ext cx="3960000" cy="576000"/>
          </a:xfrm>
        </p:spPr>
        <p:txBody>
          <a:bodyPr/>
          <a:lstStyle>
            <a:lvl1pPr>
              <a:lnSpc>
                <a:spcPts val="1200"/>
              </a:lnSpc>
              <a:spcAft>
                <a:spcPts val="0"/>
              </a:spcAft>
              <a:defRPr sz="900"/>
            </a:lvl1pPr>
            <a:lvl2pPr>
              <a:lnSpc>
                <a:spcPts val="1200"/>
              </a:lnSpc>
              <a:spcAft>
                <a:spcPts val="0"/>
              </a:spcAft>
              <a:defRPr sz="900"/>
            </a:lvl2pPr>
            <a:lvl3pPr>
              <a:lnSpc>
                <a:spcPts val="1200"/>
              </a:lnSpc>
              <a:spcAft>
                <a:spcPts val="0"/>
              </a:spcAft>
              <a:defRPr sz="900"/>
            </a:lvl3pPr>
            <a:lvl4pPr>
              <a:lnSpc>
                <a:spcPts val="1200"/>
              </a:lnSpc>
              <a:spcAft>
                <a:spcPts val="0"/>
              </a:spcAft>
              <a:defRPr sz="900"/>
            </a:lvl4pPr>
            <a:lvl5pPr>
              <a:lnSpc>
                <a:spcPts val="1200"/>
              </a:lnSpc>
              <a:spcAft>
                <a:spcPts val="0"/>
              </a:spcAft>
              <a:defRPr sz="900"/>
            </a:lvl5pPr>
            <a:lvl6pPr>
              <a:lnSpc>
                <a:spcPts val="1200"/>
              </a:lnSpc>
              <a:spcAft>
                <a:spcPts val="0"/>
              </a:spcAft>
              <a:defRPr sz="900"/>
            </a:lvl6pPr>
            <a:lvl7pPr>
              <a:lnSpc>
                <a:spcPts val="1200"/>
              </a:lnSpc>
              <a:spcAft>
                <a:spcPts val="0"/>
              </a:spcAft>
              <a:defRPr sz="900"/>
            </a:lvl7pPr>
            <a:lvl8pPr>
              <a:lnSpc>
                <a:spcPts val="1200"/>
              </a:lnSpc>
              <a:spcAft>
                <a:spcPts val="0"/>
              </a:spcAft>
              <a:defRPr sz="900"/>
            </a:lvl8pPr>
            <a:lvl9pPr>
              <a:lnSpc>
                <a:spcPts val="1200"/>
              </a:lnSpc>
              <a:spcAft>
                <a:spcPts val="0"/>
              </a:spcAft>
              <a:defRPr sz="900"/>
            </a:lvl9pPr>
          </a:lstStyle>
          <a:p>
            <a:pPr lvl="0"/>
            <a:r>
              <a:rPr lang="de-DE" dirty="0"/>
              <a:t>Bildunterzeile // für weitere Ebenen (Text)  &gt;&gt; Menü &gt; Start &gt; Absatz &gt; Listenebene erhöhen </a:t>
            </a:r>
          </a:p>
          <a:p>
            <a:pPr lvl="0"/>
            <a:endParaRPr lang="de-DE" dirty="0"/>
          </a:p>
          <a:p>
            <a:pPr lvl="1"/>
            <a:r>
              <a:rPr lang="de-DE" dirty="0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24137466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45">
          <p15:clr>
            <a:srgbClr val="FBAE40"/>
          </p15:clr>
        </p15:guide>
        <p15:guide id="2" pos="5444">
          <p15:clr>
            <a:srgbClr val="FBAE40"/>
          </p15:clr>
        </p15:guide>
        <p15:guide id="3" orient="horz" pos="596">
          <p15:clr>
            <a:srgbClr val="FBAE40"/>
          </p15:clr>
        </p15:guide>
        <p15:guide id="4" orient="horz" pos="2269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Text / 2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KAPITEL | CHART-HEADLIN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68000" y="918000"/>
            <a:ext cx="5400000" cy="33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 auf erster Ebene // für weitere Ebenen &gt;&gt; Menü &gt; Start &gt; Absatz &gt; Listenebene erhöh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261E425-9AF3-4B68-A7DE-55697E59E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C8FE19E-1A66-4F06-9454-D8ECA4880C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6DB40BEE-2C74-4B7C-AA75-FB330D4E18B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80000" y="954000"/>
            <a:ext cx="2160000" cy="1440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7" name="Bildplatzhalter 4">
            <a:extLst>
              <a:ext uri="{FF2B5EF4-FFF2-40B4-BE49-F238E27FC236}">
                <a16:creationId xmlns:a16="http://schemas.microsoft.com/office/drawing/2014/main" id="{73CCF540-0E4F-47A6-981D-1A856FBCB4E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80000" y="2628000"/>
            <a:ext cx="2160000" cy="1440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456241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077" userDrawn="1">
          <p15:clr>
            <a:srgbClr val="FBAE40"/>
          </p15:clr>
        </p15:guide>
        <p15:guide id="2" pos="5444">
          <p15:clr>
            <a:srgbClr val="FBAE40"/>
          </p15:clr>
        </p15:guide>
        <p15:guide id="3" orient="horz" pos="596">
          <p15:clr>
            <a:srgbClr val="FBAE40"/>
          </p15:clr>
        </p15:guide>
        <p15:guide id="4" orient="horz" pos="1653" userDrawn="1">
          <p15:clr>
            <a:srgbClr val="FBAE40"/>
          </p15:clr>
        </p15:guide>
        <p15:guide id="5" orient="horz" pos="2564" userDrawn="1">
          <p15:clr>
            <a:srgbClr val="FBAE40"/>
          </p15:clr>
        </p15:guide>
        <p15:guide id="6" orient="horz" pos="1513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2 Bilder /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KAPITEL | CHART-HEADLIN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240000" y="918000"/>
            <a:ext cx="5400000" cy="33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 auf erster Ebene // für weitere Ebenen &gt;&gt; Menü &gt; Start &gt; Absatz &gt; Listenebene erhöh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261E425-9AF3-4B68-A7DE-55697E59E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C8FE19E-1A66-4F06-9454-D8ECA4880C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6DB40BEE-2C74-4B7C-AA75-FB330D4E18B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68000" y="954000"/>
            <a:ext cx="2160000" cy="1440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7" name="Bildplatzhalter 4">
            <a:extLst>
              <a:ext uri="{FF2B5EF4-FFF2-40B4-BE49-F238E27FC236}">
                <a16:creationId xmlns:a16="http://schemas.microsoft.com/office/drawing/2014/main" id="{73CCF540-0E4F-47A6-981D-1A856FBCB4E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8000" y="2628000"/>
            <a:ext cx="2160000" cy="1440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9870102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658" userDrawn="1">
          <p15:clr>
            <a:srgbClr val="FBAE40"/>
          </p15:clr>
        </p15:guide>
        <p15:guide id="2" pos="5444">
          <p15:clr>
            <a:srgbClr val="FBAE40"/>
          </p15:clr>
        </p15:guide>
        <p15:guide id="3" orient="horz" pos="596">
          <p15:clr>
            <a:srgbClr val="FBAE40"/>
          </p15:clr>
        </p15:guide>
        <p15:guide id="4" orient="horz" pos="1653">
          <p15:clr>
            <a:srgbClr val="FBAE40"/>
          </p15:clr>
        </p15:guide>
        <p15:guide id="5" orient="horz" pos="2564">
          <p15:clr>
            <a:srgbClr val="FBAE40"/>
          </p15:clr>
        </p15:guide>
        <p15:guide id="6" orient="horz" pos="1513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HEADLINE EINFÜG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62F6D41-300A-44A6-A773-F84C7424CD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5674647-E98A-4E91-B769-603FBD38FC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8363401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E7FEC2D-DBFC-481D-89EF-55316F02D4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BC5583F-31A1-412C-900F-41106AD784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8177960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Vorstellung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 hidden="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0912" y="0"/>
            <a:ext cx="2830680" cy="1698408"/>
          </a:xfrm>
          <a:prstGeom prst="rect">
            <a:avLst/>
          </a:prstGeom>
        </p:spPr>
      </p:pic>
      <p:sp>
        <p:nvSpPr>
          <p:cNvPr id="8" name="Bildplatzhalter 11"/>
          <p:cNvSpPr>
            <a:spLocks noGrp="1"/>
          </p:cNvSpPr>
          <p:nvPr>
            <p:ph type="pic" sz="quarter" idx="10"/>
          </p:nvPr>
        </p:nvSpPr>
        <p:spPr>
          <a:xfrm>
            <a:off x="-4834" y="-2989"/>
            <a:ext cx="9148810" cy="5148352"/>
          </a:xfrm>
          <a:custGeom>
            <a:avLst/>
            <a:gdLst>
              <a:gd name="connsiteX0" fmla="*/ 0 w 8064500"/>
              <a:gd name="connsiteY0" fmla="*/ 0 h 4038600"/>
              <a:gd name="connsiteX1" fmla="*/ 8064500 w 8064500"/>
              <a:gd name="connsiteY1" fmla="*/ 0 h 4038600"/>
              <a:gd name="connsiteX2" fmla="*/ 8064500 w 8064500"/>
              <a:gd name="connsiteY2" fmla="*/ 4038600 h 4038600"/>
              <a:gd name="connsiteX3" fmla="*/ 0 w 8064500"/>
              <a:gd name="connsiteY3" fmla="*/ 4038600 h 4038600"/>
              <a:gd name="connsiteX4" fmla="*/ 0 w 8064500"/>
              <a:gd name="connsiteY4" fmla="*/ 0 h 4038600"/>
              <a:gd name="connsiteX0" fmla="*/ 0 w 8064500"/>
              <a:gd name="connsiteY0" fmla="*/ 0 h 4038600"/>
              <a:gd name="connsiteX1" fmla="*/ 8064500 w 8064500"/>
              <a:gd name="connsiteY1" fmla="*/ 0 h 4038600"/>
              <a:gd name="connsiteX2" fmla="*/ 8062913 w 8064500"/>
              <a:gd name="connsiteY2" fmla="*/ 1719263 h 4038600"/>
              <a:gd name="connsiteX3" fmla="*/ 8064500 w 8064500"/>
              <a:gd name="connsiteY3" fmla="*/ 4038600 h 4038600"/>
              <a:gd name="connsiteX4" fmla="*/ 0 w 8064500"/>
              <a:gd name="connsiteY4" fmla="*/ 4038600 h 4038600"/>
              <a:gd name="connsiteX5" fmla="*/ 0 w 8064500"/>
              <a:gd name="connsiteY5" fmla="*/ 0 h 4038600"/>
              <a:gd name="connsiteX0" fmla="*/ 0 w 8064500"/>
              <a:gd name="connsiteY0" fmla="*/ 0 h 4038600"/>
              <a:gd name="connsiteX1" fmla="*/ 8064500 w 8064500"/>
              <a:gd name="connsiteY1" fmla="*/ 0 h 4038600"/>
              <a:gd name="connsiteX2" fmla="*/ 8062913 w 8064500"/>
              <a:gd name="connsiteY2" fmla="*/ 1221581 h 4038600"/>
              <a:gd name="connsiteX3" fmla="*/ 8062913 w 8064500"/>
              <a:gd name="connsiteY3" fmla="*/ 1719263 h 4038600"/>
              <a:gd name="connsiteX4" fmla="*/ 8064500 w 8064500"/>
              <a:gd name="connsiteY4" fmla="*/ 4038600 h 4038600"/>
              <a:gd name="connsiteX5" fmla="*/ 0 w 8064500"/>
              <a:gd name="connsiteY5" fmla="*/ 4038600 h 4038600"/>
              <a:gd name="connsiteX6" fmla="*/ 0 w 8064500"/>
              <a:gd name="connsiteY6" fmla="*/ 0 h 4038600"/>
              <a:gd name="connsiteX0" fmla="*/ 0 w 8064500"/>
              <a:gd name="connsiteY0" fmla="*/ 0 h 4038600"/>
              <a:gd name="connsiteX1" fmla="*/ 8064500 w 8064500"/>
              <a:gd name="connsiteY1" fmla="*/ 0 h 4038600"/>
              <a:gd name="connsiteX2" fmla="*/ 6669882 w 8064500"/>
              <a:gd name="connsiteY2" fmla="*/ 1909762 h 4038600"/>
              <a:gd name="connsiteX3" fmla="*/ 8062913 w 8064500"/>
              <a:gd name="connsiteY3" fmla="*/ 1719263 h 4038600"/>
              <a:gd name="connsiteX4" fmla="*/ 8064500 w 8064500"/>
              <a:gd name="connsiteY4" fmla="*/ 4038600 h 4038600"/>
              <a:gd name="connsiteX5" fmla="*/ 0 w 8064500"/>
              <a:gd name="connsiteY5" fmla="*/ 4038600 h 4038600"/>
              <a:gd name="connsiteX6" fmla="*/ 0 w 8064500"/>
              <a:gd name="connsiteY6" fmla="*/ 0 h 4038600"/>
              <a:gd name="connsiteX0" fmla="*/ 0 w 8064500"/>
              <a:gd name="connsiteY0" fmla="*/ 0 h 4038600"/>
              <a:gd name="connsiteX1" fmla="*/ 8064500 w 8064500"/>
              <a:gd name="connsiteY1" fmla="*/ 0 h 4038600"/>
              <a:gd name="connsiteX2" fmla="*/ 6881813 w 8064500"/>
              <a:gd name="connsiteY2" fmla="*/ 1724025 h 4038600"/>
              <a:gd name="connsiteX3" fmla="*/ 8062913 w 8064500"/>
              <a:gd name="connsiteY3" fmla="*/ 1719263 h 4038600"/>
              <a:gd name="connsiteX4" fmla="*/ 8064500 w 8064500"/>
              <a:gd name="connsiteY4" fmla="*/ 4038600 h 4038600"/>
              <a:gd name="connsiteX5" fmla="*/ 0 w 8064500"/>
              <a:gd name="connsiteY5" fmla="*/ 4038600 h 4038600"/>
              <a:gd name="connsiteX6" fmla="*/ 0 w 8064500"/>
              <a:gd name="connsiteY6" fmla="*/ 0 h 4038600"/>
              <a:gd name="connsiteX0" fmla="*/ 0 w 8064500"/>
              <a:gd name="connsiteY0" fmla="*/ 0 h 4038600"/>
              <a:gd name="connsiteX1" fmla="*/ 6876256 w 8064500"/>
              <a:gd name="connsiteY1" fmla="*/ 0 h 4038600"/>
              <a:gd name="connsiteX2" fmla="*/ 6881813 w 8064500"/>
              <a:gd name="connsiteY2" fmla="*/ 1724025 h 4038600"/>
              <a:gd name="connsiteX3" fmla="*/ 8062913 w 8064500"/>
              <a:gd name="connsiteY3" fmla="*/ 1719263 h 4038600"/>
              <a:gd name="connsiteX4" fmla="*/ 8064500 w 8064500"/>
              <a:gd name="connsiteY4" fmla="*/ 4038600 h 4038600"/>
              <a:gd name="connsiteX5" fmla="*/ 0 w 8064500"/>
              <a:gd name="connsiteY5" fmla="*/ 4038600 h 4038600"/>
              <a:gd name="connsiteX6" fmla="*/ 0 w 8064500"/>
              <a:gd name="connsiteY6" fmla="*/ 0 h 4038600"/>
              <a:gd name="connsiteX0" fmla="*/ 0 w 8064500"/>
              <a:gd name="connsiteY0" fmla="*/ 0 h 4038600"/>
              <a:gd name="connsiteX1" fmla="*/ 6878637 w 8064500"/>
              <a:gd name="connsiteY1" fmla="*/ 0 h 4038600"/>
              <a:gd name="connsiteX2" fmla="*/ 6881813 w 8064500"/>
              <a:gd name="connsiteY2" fmla="*/ 1724025 h 4038600"/>
              <a:gd name="connsiteX3" fmla="*/ 8062913 w 8064500"/>
              <a:gd name="connsiteY3" fmla="*/ 1719263 h 4038600"/>
              <a:gd name="connsiteX4" fmla="*/ 8064500 w 8064500"/>
              <a:gd name="connsiteY4" fmla="*/ 4038600 h 4038600"/>
              <a:gd name="connsiteX5" fmla="*/ 0 w 8064500"/>
              <a:gd name="connsiteY5" fmla="*/ 4038600 h 4038600"/>
              <a:gd name="connsiteX6" fmla="*/ 0 w 8064500"/>
              <a:gd name="connsiteY6" fmla="*/ 0 h 4038600"/>
              <a:gd name="connsiteX0" fmla="*/ 0 w 8064500"/>
              <a:gd name="connsiteY0" fmla="*/ 0 h 4038600"/>
              <a:gd name="connsiteX1" fmla="*/ 6878637 w 8064500"/>
              <a:gd name="connsiteY1" fmla="*/ 0 h 4038600"/>
              <a:gd name="connsiteX2" fmla="*/ 6881813 w 8064500"/>
              <a:gd name="connsiteY2" fmla="*/ 1724025 h 4038600"/>
              <a:gd name="connsiteX3" fmla="*/ 8062913 w 8064500"/>
              <a:gd name="connsiteY3" fmla="*/ 1724025 h 4038600"/>
              <a:gd name="connsiteX4" fmla="*/ 8064500 w 8064500"/>
              <a:gd name="connsiteY4" fmla="*/ 4038600 h 4038600"/>
              <a:gd name="connsiteX5" fmla="*/ 0 w 8064500"/>
              <a:gd name="connsiteY5" fmla="*/ 4038600 h 4038600"/>
              <a:gd name="connsiteX6" fmla="*/ 0 w 8064500"/>
              <a:gd name="connsiteY6" fmla="*/ 0 h 4038600"/>
              <a:gd name="connsiteX0" fmla="*/ 81775 w 8146275"/>
              <a:gd name="connsiteY0" fmla="*/ 0 h 4038600"/>
              <a:gd name="connsiteX1" fmla="*/ 6960412 w 8146275"/>
              <a:gd name="connsiteY1" fmla="*/ 0 h 4038600"/>
              <a:gd name="connsiteX2" fmla="*/ 6963588 w 8146275"/>
              <a:gd name="connsiteY2" fmla="*/ 1724025 h 4038600"/>
              <a:gd name="connsiteX3" fmla="*/ 8144688 w 8146275"/>
              <a:gd name="connsiteY3" fmla="*/ 1724025 h 4038600"/>
              <a:gd name="connsiteX4" fmla="*/ 8146275 w 8146275"/>
              <a:gd name="connsiteY4" fmla="*/ 4038600 h 4038600"/>
              <a:gd name="connsiteX5" fmla="*/ 0 w 8146275"/>
              <a:gd name="connsiteY5" fmla="*/ 4038600 h 4038600"/>
              <a:gd name="connsiteX6" fmla="*/ 81775 w 8146275"/>
              <a:gd name="connsiteY6" fmla="*/ 0 h 4038600"/>
              <a:gd name="connsiteX0" fmla="*/ 0 w 8146276"/>
              <a:gd name="connsiteY0" fmla="*/ 0 h 4046034"/>
              <a:gd name="connsiteX1" fmla="*/ 6960413 w 8146276"/>
              <a:gd name="connsiteY1" fmla="*/ 7434 h 4046034"/>
              <a:gd name="connsiteX2" fmla="*/ 6963589 w 8146276"/>
              <a:gd name="connsiteY2" fmla="*/ 1731459 h 4046034"/>
              <a:gd name="connsiteX3" fmla="*/ 8144689 w 8146276"/>
              <a:gd name="connsiteY3" fmla="*/ 1731459 h 4046034"/>
              <a:gd name="connsiteX4" fmla="*/ 8146276 w 8146276"/>
              <a:gd name="connsiteY4" fmla="*/ 4046034 h 4046034"/>
              <a:gd name="connsiteX5" fmla="*/ 1 w 8146276"/>
              <a:gd name="connsiteY5" fmla="*/ 4046034 h 4046034"/>
              <a:gd name="connsiteX6" fmla="*/ 0 w 8146276"/>
              <a:gd name="connsiteY6" fmla="*/ 0 h 4046034"/>
              <a:gd name="connsiteX0" fmla="*/ 9524 w 8155800"/>
              <a:gd name="connsiteY0" fmla="*/ 0 h 6093909"/>
              <a:gd name="connsiteX1" fmla="*/ 6969937 w 8155800"/>
              <a:gd name="connsiteY1" fmla="*/ 7434 h 6093909"/>
              <a:gd name="connsiteX2" fmla="*/ 6973113 w 8155800"/>
              <a:gd name="connsiteY2" fmla="*/ 1731459 h 6093909"/>
              <a:gd name="connsiteX3" fmla="*/ 8154213 w 8155800"/>
              <a:gd name="connsiteY3" fmla="*/ 1731459 h 6093909"/>
              <a:gd name="connsiteX4" fmla="*/ 8155800 w 8155800"/>
              <a:gd name="connsiteY4" fmla="*/ 4046034 h 6093909"/>
              <a:gd name="connsiteX5" fmla="*/ 0 w 8155800"/>
              <a:gd name="connsiteY5" fmla="*/ 6093909 h 6093909"/>
              <a:gd name="connsiteX6" fmla="*/ 9524 w 8155800"/>
              <a:gd name="connsiteY6" fmla="*/ 0 h 6093909"/>
              <a:gd name="connsiteX0" fmla="*/ 9524 w 8165325"/>
              <a:gd name="connsiteY0" fmla="*/ 0 h 6103434"/>
              <a:gd name="connsiteX1" fmla="*/ 6969937 w 8165325"/>
              <a:gd name="connsiteY1" fmla="*/ 7434 h 6103434"/>
              <a:gd name="connsiteX2" fmla="*/ 6973113 w 8165325"/>
              <a:gd name="connsiteY2" fmla="*/ 1731459 h 6103434"/>
              <a:gd name="connsiteX3" fmla="*/ 8154213 w 8165325"/>
              <a:gd name="connsiteY3" fmla="*/ 1731459 h 6103434"/>
              <a:gd name="connsiteX4" fmla="*/ 8165325 w 8165325"/>
              <a:gd name="connsiteY4" fmla="*/ 6103434 h 6103434"/>
              <a:gd name="connsiteX5" fmla="*/ 0 w 8165325"/>
              <a:gd name="connsiteY5" fmla="*/ 6093909 h 6103434"/>
              <a:gd name="connsiteX6" fmla="*/ 9524 w 8165325"/>
              <a:gd name="connsiteY6" fmla="*/ 0 h 6103434"/>
              <a:gd name="connsiteX0" fmla="*/ 9524 w 8694213"/>
              <a:gd name="connsiteY0" fmla="*/ 0 h 6103434"/>
              <a:gd name="connsiteX1" fmla="*/ 6969937 w 8694213"/>
              <a:gd name="connsiteY1" fmla="*/ 7434 h 6103434"/>
              <a:gd name="connsiteX2" fmla="*/ 6973113 w 8694213"/>
              <a:gd name="connsiteY2" fmla="*/ 1731459 h 6103434"/>
              <a:gd name="connsiteX3" fmla="*/ 8694213 w 8694213"/>
              <a:gd name="connsiteY3" fmla="*/ 1731459 h 6103434"/>
              <a:gd name="connsiteX4" fmla="*/ 8165325 w 8694213"/>
              <a:gd name="connsiteY4" fmla="*/ 6103434 h 6103434"/>
              <a:gd name="connsiteX5" fmla="*/ 0 w 8694213"/>
              <a:gd name="connsiteY5" fmla="*/ 6093909 h 6103434"/>
              <a:gd name="connsiteX6" fmla="*/ 9524 w 8694213"/>
              <a:gd name="connsiteY6" fmla="*/ 0 h 6103434"/>
              <a:gd name="connsiteX0" fmla="*/ 9524 w 8891427"/>
              <a:gd name="connsiteY0" fmla="*/ 0 h 6103434"/>
              <a:gd name="connsiteX1" fmla="*/ 6969937 w 8891427"/>
              <a:gd name="connsiteY1" fmla="*/ 7434 h 6103434"/>
              <a:gd name="connsiteX2" fmla="*/ 6973113 w 8891427"/>
              <a:gd name="connsiteY2" fmla="*/ 1731459 h 6103434"/>
              <a:gd name="connsiteX3" fmla="*/ 8694213 w 8891427"/>
              <a:gd name="connsiteY3" fmla="*/ 1731459 h 6103434"/>
              <a:gd name="connsiteX4" fmla="*/ 8889495 w 8891427"/>
              <a:gd name="connsiteY4" fmla="*/ 597833 h 6103434"/>
              <a:gd name="connsiteX5" fmla="*/ 8165325 w 8891427"/>
              <a:gd name="connsiteY5" fmla="*/ 6103434 h 6103434"/>
              <a:gd name="connsiteX6" fmla="*/ 0 w 8891427"/>
              <a:gd name="connsiteY6" fmla="*/ 6093909 h 6103434"/>
              <a:gd name="connsiteX7" fmla="*/ 9524 w 8891427"/>
              <a:gd name="connsiteY7" fmla="*/ 0 h 6103434"/>
              <a:gd name="connsiteX0" fmla="*/ 9524 w 8929879"/>
              <a:gd name="connsiteY0" fmla="*/ 0 h 6103434"/>
              <a:gd name="connsiteX1" fmla="*/ 6969937 w 8929879"/>
              <a:gd name="connsiteY1" fmla="*/ 7434 h 6103434"/>
              <a:gd name="connsiteX2" fmla="*/ 6973113 w 8929879"/>
              <a:gd name="connsiteY2" fmla="*/ 1731459 h 6103434"/>
              <a:gd name="connsiteX3" fmla="*/ 8694213 w 8929879"/>
              <a:gd name="connsiteY3" fmla="*/ 1731459 h 6103434"/>
              <a:gd name="connsiteX4" fmla="*/ 8889495 w 8929879"/>
              <a:gd name="connsiteY4" fmla="*/ 597833 h 6103434"/>
              <a:gd name="connsiteX5" fmla="*/ 8165325 w 8929879"/>
              <a:gd name="connsiteY5" fmla="*/ 6103434 h 6103434"/>
              <a:gd name="connsiteX6" fmla="*/ 0 w 8929879"/>
              <a:gd name="connsiteY6" fmla="*/ 6093909 h 6103434"/>
              <a:gd name="connsiteX7" fmla="*/ 9524 w 8929879"/>
              <a:gd name="connsiteY7" fmla="*/ 0 h 6103434"/>
              <a:gd name="connsiteX0" fmla="*/ 9524 w 8954130"/>
              <a:gd name="connsiteY0" fmla="*/ 0 h 6103434"/>
              <a:gd name="connsiteX1" fmla="*/ 6969937 w 8954130"/>
              <a:gd name="connsiteY1" fmla="*/ 7434 h 6103434"/>
              <a:gd name="connsiteX2" fmla="*/ 6973113 w 8954130"/>
              <a:gd name="connsiteY2" fmla="*/ 1731459 h 6103434"/>
              <a:gd name="connsiteX3" fmla="*/ 8694213 w 8954130"/>
              <a:gd name="connsiteY3" fmla="*/ 1731459 h 6103434"/>
              <a:gd name="connsiteX4" fmla="*/ 8889495 w 8954130"/>
              <a:gd name="connsiteY4" fmla="*/ 597833 h 6103434"/>
              <a:gd name="connsiteX5" fmla="*/ 8165325 w 8954130"/>
              <a:gd name="connsiteY5" fmla="*/ 6103434 h 6103434"/>
              <a:gd name="connsiteX6" fmla="*/ 0 w 8954130"/>
              <a:gd name="connsiteY6" fmla="*/ 6093909 h 6103434"/>
              <a:gd name="connsiteX7" fmla="*/ 9524 w 8954130"/>
              <a:gd name="connsiteY7" fmla="*/ 0 h 6103434"/>
              <a:gd name="connsiteX0" fmla="*/ 9524 w 8889495"/>
              <a:gd name="connsiteY0" fmla="*/ 0 h 6103434"/>
              <a:gd name="connsiteX1" fmla="*/ 6969937 w 8889495"/>
              <a:gd name="connsiteY1" fmla="*/ 7434 h 6103434"/>
              <a:gd name="connsiteX2" fmla="*/ 6973113 w 8889495"/>
              <a:gd name="connsiteY2" fmla="*/ 1731459 h 6103434"/>
              <a:gd name="connsiteX3" fmla="*/ 8694213 w 8889495"/>
              <a:gd name="connsiteY3" fmla="*/ 1731459 h 6103434"/>
              <a:gd name="connsiteX4" fmla="*/ 8889495 w 8889495"/>
              <a:gd name="connsiteY4" fmla="*/ 597833 h 6103434"/>
              <a:gd name="connsiteX5" fmla="*/ 8165325 w 8889495"/>
              <a:gd name="connsiteY5" fmla="*/ 6103434 h 6103434"/>
              <a:gd name="connsiteX6" fmla="*/ 0 w 8889495"/>
              <a:gd name="connsiteY6" fmla="*/ 6093909 h 6103434"/>
              <a:gd name="connsiteX7" fmla="*/ 9524 w 8889495"/>
              <a:gd name="connsiteY7" fmla="*/ 0 h 6103434"/>
              <a:gd name="connsiteX0" fmla="*/ 9524 w 8914544"/>
              <a:gd name="connsiteY0" fmla="*/ 0 h 6103434"/>
              <a:gd name="connsiteX1" fmla="*/ 6969937 w 8914544"/>
              <a:gd name="connsiteY1" fmla="*/ 7434 h 6103434"/>
              <a:gd name="connsiteX2" fmla="*/ 6973113 w 8914544"/>
              <a:gd name="connsiteY2" fmla="*/ 1731459 h 6103434"/>
              <a:gd name="connsiteX3" fmla="*/ 8694213 w 8914544"/>
              <a:gd name="connsiteY3" fmla="*/ 1731459 h 6103434"/>
              <a:gd name="connsiteX4" fmla="*/ 8889495 w 8914544"/>
              <a:gd name="connsiteY4" fmla="*/ 597833 h 6103434"/>
              <a:gd name="connsiteX5" fmla="*/ 8165325 w 8914544"/>
              <a:gd name="connsiteY5" fmla="*/ 6103434 h 6103434"/>
              <a:gd name="connsiteX6" fmla="*/ 0 w 8914544"/>
              <a:gd name="connsiteY6" fmla="*/ 6093909 h 6103434"/>
              <a:gd name="connsiteX7" fmla="*/ 9524 w 8914544"/>
              <a:gd name="connsiteY7" fmla="*/ 0 h 6103434"/>
              <a:gd name="connsiteX0" fmla="*/ 9524 w 8837102"/>
              <a:gd name="connsiteY0" fmla="*/ 0 h 6103434"/>
              <a:gd name="connsiteX1" fmla="*/ 6969937 w 8837102"/>
              <a:gd name="connsiteY1" fmla="*/ 7434 h 6103434"/>
              <a:gd name="connsiteX2" fmla="*/ 6973113 w 8837102"/>
              <a:gd name="connsiteY2" fmla="*/ 1731459 h 6103434"/>
              <a:gd name="connsiteX3" fmla="*/ 8694213 w 8837102"/>
              <a:gd name="connsiteY3" fmla="*/ 1731459 h 6103434"/>
              <a:gd name="connsiteX4" fmla="*/ 8695095 w 8837102"/>
              <a:gd name="connsiteY4" fmla="*/ 29033 h 6103434"/>
              <a:gd name="connsiteX5" fmla="*/ 8165325 w 8837102"/>
              <a:gd name="connsiteY5" fmla="*/ 6103434 h 6103434"/>
              <a:gd name="connsiteX6" fmla="*/ 0 w 8837102"/>
              <a:gd name="connsiteY6" fmla="*/ 6093909 h 6103434"/>
              <a:gd name="connsiteX7" fmla="*/ 9524 w 8837102"/>
              <a:gd name="connsiteY7" fmla="*/ 0 h 6103434"/>
              <a:gd name="connsiteX0" fmla="*/ 9524 w 8970194"/>
              <a:gd name="connsiteY0" fmla="*/ 107230 h 6210664"/>
              <a:gd name="connsiteX1" fmla="*/ 6969937 w 8970194"/>
              <a:gd name="connsiteY1" fmla="*/ 114664 h 6210664"/>
              <a:gd name="connsiteX2" fmla="*/ 6973113 w 8970194"/>
              <a:gd name="connsiteY2" fmla="*/ 1838689 h 6210664"/>
              <a:gd name="connsiteX3" fmla="*/ 8694213 w 8970194"/>
              <a:gd name="connsiteY3" fmla="*/ 1838689 h 6210664"/>
              <a:gd name="connsiteX4" fmla="*/ 8695095 w 8970194"/>
              <a:gd name="connsiteY4" fmla="*/ 136263 h 6210664"/>
              <a:gd name="connsiteX5" fmla="*/ 8165325 w 8970194"/>
              <a:gd name="connsiteY5" fmla="*/ 6210664 h 6210664"/>
              <a:gd name="connsiteX6" fmla="*/ 0 w 8970194"/>
              <a:gd name="connsiteY6" fmla="*/ 6201139 h 6210664"/>
              <a:gd name="connsiteX7" fmla="*/ 9524 w 8970194"/>
              <a:gd name="connsiteY7" fmla="*/ 107230 h 6210664"/>
              <a:gd name="connsiteX0" fmla="*/ 9524 w 8734141"/>
              <a:gd name="connsiteY0" fmla="*/ 157774 h 6261208"/>
              <a:gd name="connsiteX1" fmla="*/ 6969937 w 8734141"/>
              <a:gd name="connsiteY1" fmla="*/ 165208 h 6261208"/>
              <a:gd name="connsiteX2" fmla="*/ 6973113 w 8734141"/>
              <a:gd name="connsiteY2" fmla="*/ 1889233 h 6261208"/>
              <a:gd name="connsiteX3" fmla="*/ 8694213 w 8734141"/>
              <a:gd name="connsiteY3" fmla="*/ 1889233 h 6261208"/>
              <a:gd name="connsiteX4" fmla="*/ 8695095 w 8734141"/>
              <a:gd name="connsiteY4" fmla="*/ 186807 h 6261208"/>
              <a:gd name="connsiteX5" fmla="*/ 8165325 w 8734141"/>
              <a:gd name="connsiteY5" fmla="*/ 6261208 h 6261208"/>
              <a:gd name="connsiteX6" fmla="*/ 0 w 8734141"/>
              <a:gd name="connsiteY6" fmla="*/ 6251683 h 6261208"/>
              <a:gd name="connsiteX7" fmla="*/ 9524 w 8734141"/>
              <a:gd name="connsiteY7" fmla="*/ 157774 h 6261208"/>
              <a:gd name="connsiteX0" fmla="*/ 9524 w 8695095"/>
              <a:gd name="connsiteY0" fmla="*/ 0 h 6103434"/>
              <a:gd name="connsiteX1" fmla="*/ 6969937 w 8695095"/>
              <a:gd name="connsiteY1" fmla="*/ 7434 h 6103434"/>
              <a:gd name="connsiteX2" fmla="*/ 6973113 w 8695095"/>
              <a:gd name="connsiteY2" fmla="*/ 1731459 h 6103434"/>
              <a:gd name="connsiteX3" fmla="*/ 8694213 w 8695095"/>
              <a:gd name="connsiteY3" fmla="*/ 1731459 h 6103434"/>
              <a:gd name="connsiteX4" fmla="*/ 8695095 w 8695095"/>
              <a:gd name="connsiteY4" fmla="*/ 29033 h 6103434"/>
              <a:gd name="connsiteX5" fmla="*/ 8165325 w 8695095"/>
              <a:gd name="connsiteY5" fmla="*/ 6103434 h 6103434"/>
              <a:gd name="connsiteX6" fmla="*/ 0 w 8695095"/>
              <a:gd name="connsiteY6" fmla="*/ 6093909 h 6103434"/>
              <a:gd name="connsiteX7" fmla="*/ 9524 w 8695095"/>
              <a:gd name="connsiteY7" fmla="*/ 0 h 6103434"/>
              <a:gd name="connsiteX0" fmla="*/ 9524 w 8954978"/>
              <a:gd name="connsiteY0" fmla="*/ 0 h 6103434"/>
              <a:gd name="connsiteX1" fmla="*/ 6969937 w 8954978"/>
              <a:gd name="connsiteY1" fmla="*/ 7434 h 6103434"/>
              <a:gd name="connsiteX2" fmla="*/ 6973113 w 8954978"/>
              <a:gd name="connsiteY2" fmla="*/ 1731459 h 6103434"/>
              <a:gd name="connsiteX3" fmla="*/ 8694213 w 8954978"/>
              <a:gd name="connsiteY3" fmla="*/ 1731459 h 6103434"/>
              <a:gd name="connsiteX4" fmla="*/ 8695095 w 8954978"/>
              <a:gd name="connsiteY4" fmla="*/ 29033 h 6103434"/>
              <a:gd name="connsiteX5" fmla="*/ 8947095 w 8954978"/>
              <a:gd name="connsiteY5" fmla="*/ 2318633 h 6103434"/>
              <a:gd name="connsiteX6" fmla="*/ 8165325 w 8954978"/>
              <a:gd name="connsiteY6" fmla="*/ 6103434 h 6103434"/>
              <a:gd name="connsiteX7" fmla="*/ 0 w 8954978"/>
              <a:gd name="connsiteY7" fmla="*/ 6093909 h 6103434"/>
              <a:gd name="connsiteX8" fmla="*/ 9524 w 8954978"/>
              <a:gd name="connsiteY8" fmla="*/ 0 h 6103434"/>
              <a:gd name="connsiteX0" fmla="*/ 9524 w 8947095"/>
              <a:gd name="connsiteY0" fmla="*/ 0 h 6103434"/>
              <a:gd name="connsiteX1" fmla="*/ 6969937 w 8947095"/>
              <a:gd name="connsiteY1" fmla="*/ 7434 h 6103434"/>
              <a:gd name="connsiteX2" fmla="*/ 6973113 w 8947095"/>
              <a:gd name="connsiteY2" fmla="*/ 1731459 h 6103434"/>
              <a:gd name="connsiteX3" fmla="*/ 8694213 w 8947095"/>
              <a:gd name="connsiteY3" fmla="*/ 1731459 h 6103434"/>
              <a:gd name="connsiteX4" fmla="*/ 8695095 w 8947095"/>
              <a:gd name="connsiteY4" fmla="*/ 29033 h 6103434"/>
              <a:gd name="connsiteX5" fmla="*/ 8947095 w 8947095"/>
              <a:gd name="connsiteY5" fmla="*/ 2318633 h 6103434"/>
              <a:gd name="connsiteX6" fmla="*/ 8165325 w 8947095"/>
              <a:gd name="connsiteY6" fmla="*/ 6103434 h 6103434"/>
              <a:gd name="connsiteX7" fmla="*/ 0 w 8947095"/>
              <a:gd name="connsiteY7" fmla="*/ 6093909 h 6103434"/>
              <a:gd name="connsiteX8" fmla="*/ 9524 w 8947095"/>
              <a:gd name="connsiteY8" fmla="*/ 0 h 6103434"/>
              <a:gd name="connsiteX0" fmla="*/ 9524 w 9141495"/>
              <a:gd name="connsiteY0" fmla="*/ 358826 h 6462260"/>
              <a:gd name="connsiteX1" fmla="*/ 6969937 w 9141495"/>
              <a:gd name="connsiteY1" fmla="*/ 366260 h 6462260"/>
              <a:gd name="connsiteX2" fmla="*/ 6973113 w 9141495"/>
              <a:gd name="connsiteY2" fmla="*/ 2090285 h 6462260"/>
              <a:gd name="connsiteX3" fmla="*/ 8694213 w 9141495"/>
              <a:gd name="connsiteY3" fmla="*/ 2090285 h 6462260"/>
              <a:gd name="connsiteX4" fmla="*/ 8695095 w 9141495"/>
              <a:gd name="connsiteY4" fmla="*/ 387859 h 6462260"/>
              <a:gd name="connsiteX5" fmla="*/ 9141495 w 9141495"/>
              <a:gd name="connsiteY5" fmla="*/ 373459 h 6462260"/>
              <a:gd name="connsiteX6" fmla="*/ 8165325 w 9141495"/>
              <a:gd name="connsiteY6" fmla="*/ 6462260 h 6462260"/>
              <a:gd name="connsiteX7" fmla="*/ 0 w 9141495"/>
              <a:gd name="connsiteY7" fmla="*/ 6452735 h 6462260"/>
              <a:gd name="connsiteX8" fmla="*/ 9524 w 9141495"/>
              <a:gd name="connsiteY8" fmla="*/ 358826 h 6462260"/>
              <a:gd name="connsiteX0" fmla="*/ 9524 w 9141495"/>
              <a:gd name="connsiteY0" fmla="*/ 492044 h 6595478"/>
              <a:gd name="connsiteX1" fmla="*/ 6969937 w 9141495"/>
              <a:gd name="connsiteY1" fmla="*/ 499478 h 6595478"/>
              <a:gd name="connsiteX2" fmla="*/ 6973113 w 9141495"/>
              <a:gd name="connsiteY2" fmla="*/ 2223503 h 6595478"/>
              <a:gd name="connsiteX3" fmla="*/ 8694213 w 9141495"/>
              <a:gd name="connsiteY3" fmla="*/ 2223503 h 6595478"/>
              <a:gd name="connsiteX4" fmla="*/ 8695095 w 9141495"/>
              <a:gd name="connsiteY4" fmla="*/ 521077 h 6595478"/>
              <a:gd name="connsiteX5" fmla="*/ 9141495 w 9141495"/>
              <a:gd name="connsiteY5" fmla="*/ 506677 h 6595478"/>
              <a:gd name="connsiteX6" fmla="*/ 8165325 w 9141495"/>
              <a:gd name="connsiteY6" fmla="*/ 6595478 h 6595478"/>
              <a:gd name="connsiteX7" fmla="*/ 0 w 9141495"/>
              <a:gd name="connsiteY7" fmla="*/ 6585953 h 6595478"/>
              <a:gd name="connsiteX8" fmla="*/ 9524 w 9141495"/>
              <a:gd name="connsiteY8" fmla="*/ 492044 h 6595478"/>
              <a:gd name="connsiteX0" fmla="*/ 9524 w 9141495"/>
              <a:gd name="connsiteY0" fmla="*/ 0 h 6103434"/>
              <a:gd name="connsiteX1" fmla="*/ 6969937 w 9141495"/>
              <a:gd name="connsiteY1" fmla="*/ 7434 h 6103434"/>
              <a:gd name="connsiteX2" fmla="*/ 6973113 w 9141495"/>
              <a:gd name="connsiteY2" fmla="*/ 1731459 h 6103434"/>
              <a:gd name="connsiteX3" fmla="*/ 8694213 w 9141495"/>
              <a:gd name="connsiteY3" fmla="*/ 1731459 h 6103434"/>
              <a:gd name="connsiteX4" fmla="*/ 8695095 w 9141495"/>
              <a:gd name="connsiteY4" fmla="*/ 29033 h 6103434"/>
              <a:gd name="connsiteX5" fmla="*/ 9141495 w 9141495"/>
              <a:gd name="connsiteY5" fmla="*/ 14633 h 6103434"/>
              <a:gd name="connsiteX6" fmla="*/ 8165325 w 9141495"/>
              <a:gd name="connsiteY6" fmla="*/ 6103434 h 6103434"/>
              <a:gd name="connsiteX7" fmla="*/ 0 w 9141495"/>
              <a:gd name="connsiteY7" fmla="*/ 6093909 h 6103434"/>
              <a:gd name="connsiteX8" fmla="*/ 9524 w 9141495"/>
              <a:gd name="connsiteY8" fmla="*/ 0 h 6103434"/>
              <a:gd name="connsiteX0" fmla="*/ 9524 w 9141495"/>
              <a:gd name="connsiteY0" fmla="*/ 0 h 6103434"/>
              <a:gd name="connsiteX1" fmla="*/ 6969937 w 9141495"/>
              <a:gd name="connsiteY1" fmla="*/ 7434 h 6103434"/>
              <a:gd name="connsiteX2" fmla="*/ 6973113 w 9141495"/>
              <a:gd name="connsiteY2" fmla="*/ 1731459 h 6103434"/>
              <a:gd name="connsiteX3" fmla="*/ 8694213 w 9141495"/>
              <a:gd name="connsiteY3" fmla="*/ 1731459 h 6103434"/>
              <a:gd name="connsiteX4" fmla="*/ 8692714 w 9141495"/>
              <a:gd name="connsiteY4" fmla="*/ 7602 h 6103434"/>
              <a:gd name="connsiteX5" fmla="*/ 9141495 w 9141495"/>
              <a:gd name="connsiteY5" fmla="*/ 14633 h 6103434"/>
              <a:gd name="connsiteX6" fmla="*/ 8165325 w 9141495"/>
              <a:gd name="connsiteY6" fmla="*/ 6103434 h 6103434"/>
              <a:gd name="connsiteX7" fmla="*/ 0 w 9141495"/>
              <a:gd name="connsiteY7" fmla="*/ 6093909 h 6103434"/>
              <a:gd name="connsiteX8" fmla="*/ 9524 w 9141495"/>
              <a:gd name="connsiteY8" fmla="*/ 0 h 6103434"/>
              <a:gd name="connsiteX0" fmla="*/ 9524 w 9160545"/>
              <a:gd name="connsiteY0" fmla="*/ 0 h 6103434"/>
              <a:gd name="connsiteX1" fmla="*/ 6969937 w 9160545"/>
              <a:gd name="connsiteY1" fmla="*/ 7434 h 6103434"/>
              <a:gd name="connsiteX2" fmla="*/ 6973113 w 9160545"/>
              <a:gd name="connsiteY2" fmla="*/ 1731459 h 6103434"/>
              <a:gd name="connsiteX3" fmla="*/ 8694213 w 9160545"/>
              <a:gd name="connsiteY3" fmla="*/ 1731459 h 6103434"/>
              <a:gd name="connsiteX4" fmla="*/ 8692714 w 9160545"/>
              <a:gd name="connsiteY4" fmla="*/ 7602 h 6103434"/>
              <a:gd name="connsiteX5" fmla="*/ 9160545 w 9160545"/>
              <a:gd name="connsiteY5" fmla="*/ 7489 h 6103434"/>
              <a:gd name="connsiteX6" fmla="*/ 8165325 w 9160545"/>
              <a:gd name="connsiteY6" fmla="*/ 6103434 h 6103434"/>
              <a:gd name="connsiteX7" fmla="*/ 0 w 9160545"/>
              <a:gd name="connsiteY7" fmla="*/ 6093909 h 6103434"/>
              <a:gd name="connsiteX8" fmla="*/ 9524 w 9160545"/>
              <a:gd name="connsiteY8" fmla="*/ 0 h 6103434"/>
              <a:gd name="connsiteX0" fmla="*/ 9524 w 9160545"/>
              <a:gd name="connsiteY0" fmla="*/ 0 h 6103434"/>
              <a:gd name="connsiteX1" fmla="*/ 6969937 w 9160545"/>
              <a:gd name="connsiteY1" fmla="*/ 7434 h 6103434"/>
              <a:gd name="connsiteX2" fmla="*/ 6973113 w 9160545"/>
              <a:gd name="connsiteY2" fmla="*/ 1731459 h 6103434"/>
              <a:gd name="connsiteX3" fmla="*/ 8691832 w 9160545"/>
              <a:gd name="connsiteY3" fmla="*/ 1733840 h 6103434"/>
              <a:gd name="connsiteX4" fmla="*/ 8692714 w 9160545"/>
              <a:gd name="connsiteY4" fmla="*/ 7602 h 6103434"/>
              <a:gd name="connsiteX5" fmla="*/ 9160545 w 9160545"/>
              <a:gd name="connsiteY5" fmla="*/ 7489 h 6103434"/>
              <a:gd name="connsiteX6" fmla="*/ 8165325 w 9160545"/>
              <a:gd name="connsiteY6" fmla="*/ 6103434 h 6103434"/>
              <a:gd name="connsiteX7" fmla="*/ 0 w 9160545"/>
              <a:gd name="connsiteY7" fmla="*/ 6093909 h 6103434"/>
              <a:gd name="connsiteX8" fmla="*/ 9524 w 9160545"/>
              <a:gd name="connsiteY8" fmla="*/ 0 h 6103434"/>
              <a:gd name="connsiteX0" fmla="*/ 9524 w 9163069"/>
              <a:gd name="connsiteY0" fmla="*/ 0 h 6105816"/>
              <a:gd name="connsiteX1" fmla="*/ 6969937 w 9163069"/>
              <a:gd name="connsiteY1" fmla="*/ 7434 h 6105816"/>
              <a:gd name="connsiteX2" fmla="*/ 6973113 w 9163069"/>
              <a:gd name="connsiteY2" fmla="*/ 1731459 h 6105816"/>
              <a:gd name="connsiteX3" fmla="*/ 8691832 w 9163069"/>
              <a:gd name="connsiteY3" fmla="*/ 1733840 h 6105816"/>
              <a:gd name="connsiteX4" fmla="*/ 8692714 w 9163069"/>
              <a:gd name="connsiteY4" fmla="*/ 7602 h 6105816"/>
              <a:gd name="connsiteX5" fmla="*/ 9160545 w 9163069"/>
              <a:gd name="connsiteY5" fmla="*/ 7489 h 6105816"/>
              <a:gd name="connsiteX6" fmla="*/ 9163069 w 9163069"/>
              <a:gd name="connsiteY6" fmla="*/ 6105816 h 6105816"/>
              <a:gd name="connsiteX7" fmla="*/ 0 w 9163069"/>
              <a:gd name="connsiteY7" fmla="*/ 6093909 h 6105816"/>
              <a:gd name="connsiteX8" fmla="*/ 9524 w 9163069"/>
              <a:gd name="connsiteY8" fmla="*/ 0 h 6105816"/>
              <a:gd name="connsiteX0" fmla="*/ 9524 w 9163069"/>
              <a:gd name="connsiteY0" fmla="*/ 0 h 6166776"/>
              <a:gd name="connsiteX1" fmla="*/ 6969937 w 9163069"/>
              <a:gd name="connsiteY1" fmla="*/ 7434 h 6166776"/>
              <a:gd name="connsiteX2" fmla="*/ 6973113 w 9163069"/>
              <a:gd name="connsiteY2" fmla="*/ 1731459 h 6166776"/>
              <a:gd name="connsiteX3" fmla="*/ 8691832 w 9163069"/>
              <a:gd name="connsiteY3" fmla="*/ 1733840 h 6166776"/>
              <a:gd name="connsiteX4" fmla="*/ 8692714 w 9163069"/>
              <a:gd name="connsiteY4" fmla="*/ 7602 h 6166776"/>
              <a:gd name="connsiteX5" fmla="*/ 9160545 w 9163069"/>
              <a:gd name="connsiteY5" fmla="*/ 7489 h 6166776"/>
              <a:gd name="connsiteX6" fmla="*/ 9163069 w 9163069"/>
              <a:gd name="connsiteY6" fmla="*/ 6166776 h 6166776"/>
              <a:gd name="connsiteX7" fmla="*/ 0 w 9163069"/>
              <a:gd name="connsiteY7" fmla="*/ 6093909 h 6166776"/>
              <a:gd name="connsiteX8" fmla="*/ 9524 w 9163069"/>
              <a:gd name="connsiteY8" fmla="*/ 0 h 6166776"/>
              <a:gd name="connsiteX0" fmla="*/ 0 w 9153545"/>
              <a:gd name="connsiteY0" fmla="*/ 0 h 6170109"/>
              <a:gd name="connsiteX1" fmla="*/ 6960413 w 9153545"/>
              <a:gd name="connsiteY1" fmla="*/ 7434 h 6170109"/>
              <a:gd name="connsiteX2" fmla="*/ 6963589 w 9153545"/>
              <a:gd name="connsiteY2" fmla="*/ 1731459 h 6170109"/>
              <a:gd name="connsiteX3" fmla="*/ 8682308 w 9153545"/>
              <a:gd name="connsiteY3" fmla="*/ 1733840 h 6170109"/>
              <a:gd name="connsiteX4" fmla="*/ 8683190 w 9153545"/>
              <a:gd name="connsiteY4" fmla="*/ 7602 h 6170109"/>
              <a:gd name="connsiteX5" fmla="*/ 9151021 w 9153545"/>
              <a:gd name="connsiteY5" fmla="*/ 7489 h 6170109"/>
              <a:gd name="connsiteX6" fmla="*/ 9153545 w 9153545"/>
              <a:gd name="connsiteY6" fmla="*/ 6166776 h 6170109"/>
              <a:gd name="connsiteX7" fmla="*/ 4493896 w 9153545"/>
              <a:gd name="connsiteY7" fmla="*/ 6170109 h 6170109"/>
              <a:gd name="connsiteX8" fmla="*/ 0 w 9153545"/>
              <a:gd name="connsiteY8" fmla="*/ 0 h 6170109"/>
              <a:gd name="connsiteX0" fmla="*/ 0 w 9153545"/>
              <a:gd name="connsiteY0" fmla="*/ 0 h 6170109"/>
              <a:gd name="connsiteX1" fmla="*/ 6960413 w 9153545"/>
              <a:gd name="connsiteY1" fmla="*/ 7434 h 6170109"/>
              <a:gd name="connsiteX2" fmla="*/ 6963589 w 9153545"/>
              <a:gd name="connsiteY2" fmla="*/ 1731459 h 6170109"/>
              <a:gd name="connsiteX3" fmla="*/ 8682308 w 9153545"/>
              <a:gd name="connsiteY3" fmla="*/ 1733840 h 6170109"/>
              <a:gd name="connsiteX4" fmla="*/ 8683190 w 9153545"/>
              <a:gd name="connsiteY4" fmla="*/ 7602 h 6170109"/>
              <a:gd name="connsiteX5" fmla="*/ 9151021 w 9153545"/>
              <a:gd name="connsiteY5" fmla="*/ 7489 h 6170109"/>
              <a:gd name="connsiteX6" fmla="*/ 9153545 w 9153545"/>
              <a:gd name="connsiteY6" fmla="*/ 6166776 h 6170109"/>
              <a:gd name="connsiteX7" fmla="*/ 4493896 w 9153545"/>
              <a:gd name="connsiteY7" fmla="*/ 6170109 h 6170109"/>
              <a:gd name="connsiteX8" fmla="*/ 0 w 9153545"/>
              <a:gd name="connsiteY8" fmla="*/ 0 h 6170109"/>
              <a:gd name="connsiteX0" fmla="*/ 0 w 9153545"/>
              <a:gd name="connsiteY0" fmla="*/ 0 h 6170109"/>
              <a:gd name="connsiteX1" fmla="*/ 6960413 w 9153545"/>
              <a:gd name="connsiteY1" fmla="*/ 7434 h 6170109"/>
              <a:gd name="connsiteX2" fmla="*/ 6963589 w 9153545"/>
              <a:gd name="connsiteY2" fmla="*/ 1731459 h 6170109"/>
              <a:gd name="connsiteX3" fmla="*/ 8682308 w 9153545"/>
              <a:gd name="connsiteY3" fmla="*/ 1733840 h 6170109"/>
              <a:gd name="connsiteX4" fmla="*/ 8683190 w 9153545"/>
              <a:gd name="connsiteY4" fmla="*/ 7602 h 6170109"/>
              <a:gd name="connsiteX5" fmla="*/ 9151021 w 9153545"/>
              <a:gd name="connsiteY5" fmla="*/ 7489 h 6170109"/>
              <a:gd name="connsiteX6" fmla="*/ 9153545 w 9153545"/>
              <a:gd name="connsiteY6" fmla="*/ 6166776 h 6170109"/>
              <a:gd name="connsiteX7" fmla="*/ 4493896 w 9153545"/>
              <a:gd name="connsiteY7" fmla="*/ 6170109 h 6170109"/>
              <a:gd name="connsiteX8" fmla="*/ 0 w 9153545"/>
              <a:gd name="connsiteY8" fmla="*/ 0 h 6170109"/>
              <a:gd name="connsiteX0" fmla="*/ 0 w 9153545"/>
              <a:gd name="connsiteY0" fmla="*/ 0 h 6170109"/>
              <a:gd name="connsiteX1" fmla="*/ 6960413 w 9153545"/>
              <a:gd name="connsiteY1" fmla="*/ 7434 h 6170109"/>
              <a:gd name="connsiteX2" fmla="*/ 6963589 w 9153545"/>
              <a:gd name="connsiteY2" fmla="*/ 1731459 h 6170109"/>
              <a:gd name="connsiteX3" fmla="*/ 8682308 w 9153545"/>
              <a:gd name="connsiteY3" fmla="*/ 1733840 h 6170109"/>
              <a:gd name="connsiteX4" fmla="*/ 8683190 w 9153545"/>
              <a:gd name="connsiteY4" fmla="*/ 7602 h 6170109"/>
              <a:gd name="connsiteX5" fmla="*/ 9151021 w 9153545"/>
              <a:gd name="connsiteY5" fmla="*/ 7489 h 6170109"/>
              <a:gd name="connsiteX6" fmla="*/ 9153545 w 9153545"/>
              <a:gd name="connsiteY6" fmla="*/ 6166776 h 6170109"/>
              <a:gd name="connsiteX7" fmla="*/ 4493896 w 9153545"/>
              <a:gd name="connsiteY7" fmla="*/ 6170109 h 6170109"/>
              <a:gd name="connsiteX8" fmla="*/ 0 w 9153545"/>
              <a:gd name="connsiteY8" fmla="*/ 0 h 6170109"/>
              <a:gd name="connsiteX0" fmla="*/ 17144 w 4659649"/>
              <a:gd name="connsiteY0" fmla="*/ 0 h 6170109"/>
              <a:gd name="connsiteX1" fmla="*/ 2466517 w 4659649"/>
              <a:gd name="connsiteY1" fmla="*/ 7434 h 6170109"/>
              <a:gd name="connsiteX2" fmla="*/ 2469693 w 4659649"/>
              <a:gd name="connsiteY2" fmla="*/ 1731459 h 6170109"/>
              <a:gd name="connsiteX3" fmla="*/ 4188412 w 4659649"/>
              <a:gd name="connsiteY3" fmla="*/ 1733840 h 6170109"/>
              <a:gd name="connsiteX4" fmla="*/ 4189294 w 4659649"/>
              <a:gd name="connsiteY4" fmla="*/ 7602 h 6170109"/>
              <a:gd name="connsiteX5" fmla="*/ 4657125 w 4659649"/>
              <a:gd name="connsiteY5" fmla="*/ 7489 h 6170109"/>
              <a:gd name="connsiteX6" fmla="*/ 4659649 w 4659649"/>
              <a:gd name="connsiteY6" fmla="*/ 6166776 h 6170109"/>
              <a:gd name="connsiteX7" fmla="*/ 0 w 4659649"/>
              <a:gd name="connsiteY7" fmla="*/ 6170109 h 6170109"/>
              <a:gd name="connsiteX8" fmla="*/ 17144 w 4659649"/>
              <a:gd name="connsiteY8" fmla="*/ 0 h 6170109"/>
              <a:gd name="connsiteX0" fmla="*/ 786764 w 5429269"/>
              <a:gd name="connsiteY0" fmla="*/ 0 h 6695889"/>
              <a:gd name="connsiteX1" fmla="*/ 3236137 w 5429269"/>
              <a:gd name="connsiteY1" fmla="*/ 7434 h 6695889"/>
              <a:gd name="connsiteX2" fmla="*/ 3239313 w 5429269"/>
              <a:gd name="connsiteY2" fmla="*/ 1731459 h 6695889"/>
              <a:gd name="connsiteX3" fmla="*/ 4958032 w 5429269"/>
              <a:gd name="connsiteY3" fmla="*/ 1733840 h 6695889"/>
              <a:gd name="connsiteX4" fmla="*/ 4958914 w 5429269"/>
              <a:gd name="connsiteY4" fmla="*/ 7602 h 6695889"/>
              <a:gd name="connsiteX5" fmla="*/ 5426745 w 5429269"/>
              <a:gd name="connsiteY5" fmla="*/ 7489 h 6695889"/>
              <a:gd name="connsiteX6" fmla="*/ 5429269 w 5429269"/>
              <a:gd name="connsiteY6" fmla="*/ 6166776 h 6695889"/>
              <a:gd name="connsiteX7" fmla="*/ 0 w 5429269"/>
              <a:gd name="connsiteY7" fmla="*/ 6695889 h 6695889"/>
              <a:gd name="connsiteX8" fmla="*/ 786764 w 5429269"/>
              <a:gd name="connsiteY8" fmla="*/ 0 h 6695889"/>
              <a:gd name="connsiteX0" fmla="*/ 946784 w 5589289"/>
              <a:gd name="connsiteY0" fmla="*/ 0 h 6871149"/>
              <a:gd name="connsiteX1" fmla="*/ 3396157 w 5589289"/>
              <a:gd name="connsiteY1" fmla="*/ 7434 h 6871149"/>
              <a:gd name="connsiteX2" fmla="*/ 3399333 w 5589289"/>
              <a:gd name="connsiteY2" fmla="*/ 1731459 h 6871149"/>
              <a:gd name="connsiteX3" fmla="*/ 5118052 w 5589289"/>
              <a:gd name="connsiteY3" fmla="*/ 1733840 h 6871149"/>
              <a:gd name="connsiteX4" fmla="*/ 5118934 w 5589289"/>
              <a:gd name="connsiteY4" fmla="*/ 7602 h 6871149"/>
              <a:gd name="connsiteX5" fmla="*/ 5586765 w 5589289"/>
              <a:gd name="connsiteY5" fmla="*/ 7489 h 6871149"/>
              <a:gd name="connsiteX6" fmla="*/ 5589289 w 5589289"/>
              <a:gd name="connsiteY6" fmla="*/ 6166776 h 6871149"/>
              <a:gd name="connsiteX7" fmla="*/ 0 w 5589289"/>
              <a:gd name="connsiteY7" fmla="*/ 6871149 h 6871149"/>
              <a:gd name="connsiteX8" fmla="*/ 946784 w 5589289"/>
              <a:gd name="connsiteY8" fmla="*/ 0 h 6871149"/>
              <a:gd name="connsiteX0" fmla="*/ 946784 w 5589289"/>
              <a:gd name="connsiteY0" fmla="*/ 0 h 6871149"/>
              <a:gd name="connsiteX1" fmla="*/ 3396157 w 5589289"/>
              <a:gd name="connsiteY1" fmla="*/ 7434 h 6871149"/>
              <a:gd name="connsiteX2" fmla="*/ 3399333 w 5589289"/>
              <a:gd name="connsiteY2" fmla="*/ 1731459 h 6871149"/>
              <a:gd name="connsiteX3" fmla="*/ 5118052 w 5589289"/>
              <a:gd name="connsiteY3" fmla="*/ 1733840 h 6871149"/>
              <a:gd name="connsiteX4" fmla="*/ 5118934 w 5589289"/>
              <a:gd name="connsiteY4" fmla="*/ 7602 h 6871149"/>
              <a:gd name="connsiteX5" fmla="*/ 5586765 w 5589289"/>
              <a:gd name="connsiteY5" fmla="*/ 7489 h 6871149"/>
              <a:gd name="connsiteX6" fmla="*/ 5589289 w 5589289"/>
              <a:gd name="connsiteY6" fmla="*/ 6166776 h 6871149"/>
              <a:gd name="connsiteX7" fmla="*/ 0 w 5589289"/>
              <a:gd name="connsiteY7" fmla="*/ 6871149 h 6871149"/>
              <a:gd name="connsiteX8" fmla="*/ 946784 w 5589289"/>
              <a:gd name="connsiteY8" fmla="*/ 0 h 6871149"/>
              <a:gd name="connsiteX0" fmla="*/ 946784 w 5589289"/>
              <a:gd name="connsiteY0" fmla="*/ 0 h 6871149"/>
              <a:gd name="connsiteX1" fmla="*/ 3396157 w 5589289"/>
              <a:gd name="connsiteY1" fmla="*/ 7434 h 6871149"/>
              <a:gd name="connsiteX2" fmla="*/ 3399333 w 5589289"/>
              <a:gd name="connsiteY2" fmla="*/ 1731459 h 6871149"/>
              <a:gd name="connsiteX3" fmla="*/ 5118052 w 5589289"/>
              <a:gd name="connsiteY3" fmla="*/ 1733840 h 6871149"/>
              <a:gd name="connsiteX4" fmla="*/ 5118934 w 5589289"/>
              <a:gd name="connsiteY4" fmla="*/ 7602 h 6871149"/>
              <a:gd name="connsiteX5" fmla="*/ 5586765 w 5589289"/>
              <a:gd name="connsiteY5" fmla="*/ 7489 h 6871149"/>
              <a:gd name="connsiteX6" fmla="*/ 5589289 w 5589289"/>
              <a:gd name="connsiteY6" fmla="*/ 6166776 h 6871149"/>
              <a:gd name="connsiteX7" fmla="*/ 0 w 5589289"/>
              <a:gd name="connsiteY7" fmla="*/ 6871149 h 6871149"/>
              <a:gd name="connsiteX8" fmla="*/ 946784 w 5589289"/>
              <a:gd name="connsiteY8" fmla="*/ 0 h 6871149"/>
              <a:gd name="connsiteX0" fmla="*/ 946784 w 5589289"/>
              <a:gd name="connsiteY0" fmla="*/ 0 h 6871149"/>
              <a:gd name="connsiteX1" fmla="*/ 3396157 w 5589289"/>
              <a:gd name="connsiteY1" fmla="*/ 7434 h 6871149"/>
              <a:gd name="connsiteX2" fmla="*/ 3399333 w 5589289"/>
              <a:gd name="connsiteY2" fmla="*/ 1731459 h 6871149"/>
              <a:gd name="connsiteX3" fmla="*/ 5118052 w 5589289"/>
              <a:gd name="connsiteY3" fmla="*/ 1733840 h 6871149"/>
              <a:gd name="connsiteX4" fmla="*/ 5118934 w 5589289"/>
              <a:gd name="connsiteY4" fmla="*/ 7602 h 6871149"/>
              <a:gd name="connsiteX5" fmla="*/ 5586765 w 5589289"/>
              <a:gd name="connsiteY5" fmla="*/ 7489 h 6871149"/>
              <a:gd name="connsiteX6" fmla="*/ 5589289 w 5589289"/>
              <a:gd name="connsiteY6" fmla="*/ 6166776 h 6871149"/>
              <a:gd name="connsiteX7" fmla="*/ 0 w 5589289"/>
              <a:gd name="connsiteY7" fmla="*/ 6871149 h 6871149"/>
              <a:gd name="connsiteX8" fmla="*/ 946784 w 5589289"/>
              <a:gd name="connsiteY8" fmla="*/ 0 h 6871149"/>
              <a:gd name="connsiteX0" fmla="*/ 32384 w 5589289"/>
              <a:gd name="connsiteY0" fmla="*/ 186 h 6863715"/>
              <a:gd name="connsiteX1" fmla="*/ 3396157 w 5589289"/>
              <a:gd name="connsiteY1" fmla="*/ 0 h 6863715"/>
              <a:gd name="connsiteX2" fmla="*/ 3399333 w 5589289"/>
              <a:gd name="connsiteY2" fmla="*/ 1724025 h 6863715"/>
              <a:gd name="connsiteX3" fmla="*/ 5118052 w 5589289"/>
              <a:gd name="connsiteY3" fmla="*/ 1726406 h 6863715"/>
              <a:gd name="connsiteX4" fmla="*/ 5118934 w 5589289"/>
              <a:gd name="connsiteY4" fmla="*/ 168 h 6863715"/>
              <a:gd name="connsiteX5" fmla="*/ 5586765 w 5589289"/>
              <a:gd name="connsiteY5" fmla="*/ 55 h 6863715"/>
              <a:gd name="connsiteX6" fmla="*/ 5589289 w 5589289"/>
              <a:gd name="connsiteY6" fmla="*/ 6159342 h 6863715"/>
              <a:gd name="connsiteX7" fmla="*/ 0 w 5589289"/>
              <a:gd name="connsiteY7" fmla="*/ 6863715 h 6863715"/>
              <a:gd name="connsiteX8" fmla="*/ 32384 w 5589289"/>
              <a:gd name="connsiteY8" fmla="*/ 186 h 6863715"/>
              <a:gd name="connsiteX0" fmla="*/ 32384 w 5589289"/>
              <a:gd name="connsiteY0" fmla="*/ 186 h 6863715"/>
              <a:gd name="connsiteX1" fmla="*/ 3396157 w 5589289"/>
              <a:gd name="connsiteY1" fmla="*/ 0 h 6863715"/>
              <a:gd name="connsiteX2" fmla="*/ 3399333 w 5589289"/>
              <a:gd name="connsiteY2" fmla="*/ 1724025 h 6863715"/>
              <a:gd name="connsiteX3" fmla="*/ 5118052 w 5589289"/>
              <a:gd name="connsiteY3" fmla="*/ 1726406 h 6863715"/>
              <a:gd name="connsiteX4" fmla="*/ 5118934 w 5589289"/>
              <a:gd name="connsiteY4" fmla="*/ 168 h 6863715"/>
              <a:gd name="connsiteX5" fmla="*/ 5586765 w 5589289"/>
              <a:gd name="connsiteY5" fmla="*/ 55 h 6863715"/>
              <a:gd name="connsiteX6" fmla="*/ 5589289 w 5589289"/>
              <a:gd name="connsiteY6" fmla="*/ 6860382 h 6863715"/>
              <a:gd name="connsiteX7" fmla="*/ 0 w 5589289"/>
              <a:gd name="connsiteY7" fmla="*/ 6863715 h 6863715"/>
              <a:gd name="connsiteX8" fmla="*/ 32384 w 5589289"/>
              <a:gd name="connsiteY8" fmla="*/ 186 h 6863715"/>
              <a:gd name="connsiteX0" fmla="*/ 0 w 5595005"/>
              <a:gd name="connsiteY0" fmla="*/ 186 h 6863715"/>
              <a:gd name="connsiteX1" fmla="*/ 3401873 w 5595005"/>
              <a:gd name="connsiteY1" fmla="*/ 0 h 6863715"/>
              <a:gd name="connsiteX2" fmla="*/ 3405049 w 5595005"/>
              <a:gd name="connsiteY2" fmla="*/ 1724025 h 6863715"/>
              <a:gd name="connsiteX3" fmla="*/ 5123768 w 5595005"/>
              <a:gd name="connsiteY3" fmla="*/ 1726406 h 6863715"/>
              <a:gd name="connsiteX4" fmla="*/ 5124650 w 5595005"/>
              <a:gd name="connsiteY4" fmla="*/ 168 h 6863715"/>
              <a:gd name="connsiteX5" fmla="*/ 5592481 w 5595005"/>
              <a:gd name="connsiteY5" fmla="*/ 55 h 6863715"/>
              <a:gd name="connsiteX6" fmla="*/ 5595005 w 5595005"/>
              <a:gd name="connsiteY6" fmla="*/ 6860382 h 6863715"/>
              <a:gd name="connsiteX7" fmla="*/ 5716 w 5595005"/>
              <a:gd name="connsiteY7" fmla="*/ 6863715 h 6863715"/>
              <a:gd name="connsiteX8" fmla="*/ 0 w 5595005"/>
              <a:gd name="connsiteY8" fmla="*/ 186 h 6863715"/>
              <a:gd name="connsiteX0" fmla="*/ 1076327 w 5589292"/>
              <a:gd name="connsiteY0" fmla="*/ 186 h 6863715"/>
              <a:gd name="connsiteX1" fmla="*/ 3396160 w 5589292"/>
              <a:gd name="connsiteY1" fmla="*/ 0 h 6863715"/>
              <a:gd name="connsiteX2" fmla="*/ 3399336 w 5589292"/>
              <a:gd name="connsiteY2" fmla="*/ 1724025 h 6863715"/>
              <a:gd name="connsiteX3" fmla="*/ 5118055 w 5589292"/>
              <a:gd name="connsiteY3" fmla="*/ 1726406 h 6863715"/>
              <a:gd name="connsiteX4" fmla="*/ 5118937 w 5589292"/>
              <a:gd name="connsiteY4" fmla="*/ 168 h 6863715"/>
              <a:gd name="connsiteX5" fmla="*/ 5586768 w 5589292"/>
              <a:gd name="connsiteY5" fmla="*/ 55 h 6863715"/>
              <a:gd name="connsiteX6" fmla="*/ 5589292 w 5589292"/>
              <a:gd name="connsiteY6" fmla="*/ 6860382 h 6863715"/>
              <a:gd name="connsiteX7" fmla="*/ 3 w 5589292"/>
              <a:gd name="connsiteY7" fmla="*/ 6863715 h 6863715"/>
              <a:gd name="connsiteX8" fmla="*/ 1076327 w 5589292"/>
              <a:gd name="connsiteY8" fmla="*/ 186 h 6863715"/>
              <a:gd name="connsiteX0" fmla="*/ 0 w 4512965"/>
              <a:gd name="connsiteY0" fmla="*/ 186 h 6860382"/>
              <a:gd name="connsiteX1" fmla="*/ 2319833 w 4512965"/>
              <a:gd name="connsiteY1" fmla="*/ 0 h 6860382"/>
              <a:gd name="connsiteX2" fmla="*/ 2323009 w 4512965"/>
              <a:gd name="connsiteY2" fmla="*/ 1724025 h 6860382"/>
              <a:gd name="connsiteX3" fmla="*/ 4041728 w 4512965"/>
              <a:gd name="connsiteY3" fmla="*/ 1726406 h 6860382"/>
              <a:gd name="connsiteX4" fmla="*/ 4042610 w 4512965"/>
              <a:gd name="connsiteY4" fmla="*/ 168 h 6860382"/>
              <a:gd name="connsiteX5" fmla="*/ 4510441 w 4512965"/>
              <a:gd name="connsiteY5" fmla="*/ 55 h 6860382"/>
              <a:gd name="connsiteX6" fmla="*/ 4512965 w 4512965"/>
              <a:gd name="connsiteY6" fmla="*/ 6860382 h 6860382"/>
              <a:gd name="connsiteX7" fmla="*/ 5716 w 4512965"/>
              <a:gd name="connsiteY7" fmla="*/ 6856095 h 6860382"/>
              <a:gd name="connsiteX8" fmla="*/ 0 w 4512965"/>
              <a:gd name="connsiteY8" fmla="*/ 186 h 6860382"/>
              <a:gd name="connsiteX0" fmla="*/ 0 w 4512965"/>
              <a:gd name="connsiteY0" fmla="*/ 186 h 6871335"/>
              <a:gd name="connsiteX1" fmla="*/ 2319833 w 4512965"/>
              <a:gd name="connsiteY1" fmla="*/ 0 h 6871335"/>
              <a:gd name="connsiteX2" fmla="*/ 2323009 w 4512965"/>
              <a:gd name="connsiteY2" fmla="*/ 1724025 h 6871335"/>
              <a:gd name="connsiteX3" fmla="*/ 4041728 w 4512965"/>
              <a:gd name="connsiteY3" fmla="*/ 1726406 h 6871335"/>
              <a:gd name="connsiteX4" fmla="*/ 4042610 w 4512965"/>
              <a:gd name="connsiteY4" fmla="*/ 168 h 6871335"/>
              <a:gd name="connsiteX5" fmla="*/ 4510441 w 4512965"/>
              <a:gd name="connsiteY5" fmla="*/ 55 h 6871335"/>
              <a:gd name="connsiteX6" fmla="*/ 4512965 w 4512965"/>
              <a:gd name="connsiteY6" fmla="*/ 6860382 h 6871335"/>
              <a:gd name="connsiteX7" fmla="*/ 13336 w 4512965"/>
              <a:gd name="connsiteY7" fmla="*/ 6871335 h 6871335"/>
              <a:gd name="connsiteX8" fmla="*/ 0 w 4512965"/>
              <a:gd name="connsiteY8" fmla="*/ 186 h 6871335"/>
              <a:gd name="connsiteX0" fmla="*/ 0 w 4512965"/>
              <a:gd name="connsiteY0" fmla="*/ 186 h 6863715"/>
              <a:gd name="connsiteX1" fmla="*/ 2319833 w 4512965"/>
              <a:gd name="connsiteY1" fmla="*/ 0 h 6863715"/>
              <a:gd name="connsiteX2" fmla="*/ 2323009 w 4512965"/>
              <a:gd name="connsiteY2" fmla="*/ 1724025 h 6863715"/>
              <a:gd name="connsiteX3" fmla="*/ 4041728 w 4512965"/>
              <a:gd name="connsiteY3" fmla="*/ 1726406 h 6863715"/>
              <a:gd name="connsiteX4" fmla="*/ 4042610 w 4512965"/>
              <a:gd name="connsiteY4" fmla="*/ 168 h 6863715"/>
              <a:gd name="connsiteX5" fmla="*/ 4510441 w 4512965"/>
              <a:gd name="connsiteY5" fmla="*/ 55 h 6863715"/>
              <a:gd name="connsiteX6" fmla="*/ 4512965 w 4512965"/>
              <a:gd name="connsiteY6" fmla="*/ 6860382 h 6863715"/>
              <a:gd name="connsiteX7" fmla="*/ 13336 w 4512965"/>
              <a:gd name="connsiteY7" fmla="*/ 6863715 h 6863715"/>
              <a:gd name="connsiteX8" fmla="*/ 0 w 4512965"/>
              <a:gd name="connsiteY8" fmla="*/ 186 h 6863715"/>
              <a:gd name="connsiteX0" fmla="*/ 0 w 4512965"/>
              <a:gd name="connsiteY0" fmla="*/ 186 h 6863715"/>
              <a:gd name="connsiteX1" fmla="*/ 2319833 w 4512965"/>
              <a:gd name="connsiteY1" fmla="*/ 0 h 6863715"/>
              <a:gd name="connsiteX2" fmla="*/ 2323009 w 4512965"/>
              <a:gd name="connsiteY2" fmla="*/ 1724025 h 6863715"/>
              <a:gd name="connsiteX3" fmla="*/ 4041728 w 4512965"/>
              <a:gd name="connsiteY3" fmla="*/ 1726406 h 6863715"/>
              <a:gd name="connsiteX4" fmla="*/ 4042610 w 4512965"/>
              <a:gd name="connsiteY4" fmla="*/ 168 h 6863715"/>
              <a:gd name="connsiteX5" fmla="*/ 4510441 w 4512965"/>
              <a:gd name="connsiteY5" fmla="*/ 55 h 6863715"/>
              <a:gd name="connsiteX6" fmla="*/ 4512965 w 4512965"/>
              <a:gd name="connsiteY6" fmla="*/ 6860382 h 6863715"/>
              <a:gd name="connsiteX7" fmla="*/ 13336 w 4512965"/>
              <a:gd name="connsiteY7" fmla="*/ 6863715 h 6863715"/>
              <a:gd name="connsiteX8" fmla="*/ 0 w 4512965"/>
              <a:gd name="connsiteY8" fmla="*/ 186 h 6863715"/>
              <a:gd name="connsiteX0" fmla="*/ 0 w 4512965"/>
              <a:gd name="connsiteY0" fmla="*/ 186 h 6863715"/>
              <a:gd name="connsiteX1" fmla="*/ 2319833 w 4512965"/>
              <a:gd name="connsiteY1" fmla="*/ 0 h 6863715"/>
              <a:gd name="connsiteX2" fmla="*/ 2323009 w 4512965"/>
              <a:gd name="connsiteY2" fmla="*/ 1724025 h 6863715"/>
              <a:gd name="connsiteX3" fmla="*/ 4041728 w 4512965"/>
              <a:gd name="connsiteY3" fmla="*/ 1726406 h 6863715"/>
              <a:gd name="connsiteX4" fmla="*/ 4042610 w 4512965"/>
              <a:gd name="connsiteY4" fmla="*/ 168 h 6863715"/>
              <a:gd name="connsiteX5" fmla="*/ 4510441 w 4512965"/>
              <a:gd name="connsiteY5" fmla="*/ 55 h 6863715"/>
              <a:gd name="connsiteX6" fmla="*/ 4512965 w 4512965"/>
              <a:gd name="connsiteY6" fmla="*/ 6860382 h 6863715"/>
              <a:gd name="connsiteX7" fmla="*/ 13336 w 4512965"/>
              <a:gd name="connsiteY7" fmla="*/ 6863715 h 6863715"/>
              <a:gd name="connsiteX8" fmla="*/ 0 w 4512965"/>
              <a:gd name="connsiteY8" fmla="*/ 186 h 6863715"/>
              <a:gd name="connsiteX0" fmla="*/ 0 w 4512965"/>
              <a:gd name="connsiteY0" fmla="*/ 186 h 6863715"/>
              <a:gd name="connsiteX1" fmla="*/ 2319833 w 4512965"/>
              <a:gd name="connsiteY1" fmla="*/ 0 h 6863715"/>
              <a:gd name="connsiteX2" fmla="*/ 2323009 w 4512965"/>
              <a:gd name="connsiteY2" fmla="*/ 1724025 h 6863715"/>
              <a:gd name="connsiteX3" fmla="*/ 4041728 w 4512965"/>
              <a:gd name="connsiteY3" fmla="*/ 1726406 h 6863715"/>
              <a:gd name="connsiteX4" fmla="*/ 4042610 w 4512965"/>
              <a:gd name="connsiteY4" fmla="*/ 168 h 6863715"/>
              <a:gd name="connsiteX5" fmla="*/ 4510441 w 4512965"/>
              <a:gd name="connsiteY5" fmla="*/ 55 h 6863715"/>
              <a:gd name="connsiteX6" fmla="*/ 4512965 w 4512965"/>
              <a:gd name="connsiteY6" fmla="*/ 6860382 h 6863715"/>
              <a:gd name="connsiteX7" fmla="*/ 13336 w 4512965"/>
              <a:gd name="connsiteY7" fmla="*/ 6863715 h 6863715"/>
              <a:gd name="connsiteX8" fmla="*/ 0 w 4512965"/>
              <a:gd name="connsiteY8" fmla="*/ 186 h 6863715"/>
              <a:gd name="connsiteX0" fmla="*/ 0 w 4512965"/>
              <a:gd name="connsiteY0" fmla="*/ 186 h 6863715"/>
              <a:gd name="connsiteX1" fmla="*/ 2319833 w 4512965"/>
              <a:gd name="connsiteY1" fmla="*/ 0 h 6863715"/>
              <a:gd name="connsiteX2" fmla="*/ 2323009 w 4512965"/>
              <a:gd name="connsiteY2" fmla="*/ 1724025 h 6863715"/>
              <a:gd name="connsiteX3" fmla="*/ 4041728 w 4512965"/>
              <a:gd name="connsiteY3" fmla="*/ 1726406 h 6863715"/>
              <a:gd name="connsiteX4" fmla="*/ 4042610 w 4512965"/>
              <a:gd name="connsiteY4" fmla="*/ 168 h 6863715"/>
              <a:gd name="connsiteX5" fmla="*/ 4510441 w 4512965"/>
              <a:gd name="connsiteY5" fmla="*/ 55 h 6863715"/>
              <a:gd name="connsiteX6" fmla="*/ 4512965 w 4512965"/>
              <a:gd name="connsiteY6" fmla="*/ 6860382 h 6863715"/>
              <a:gd name="connsiteX7" fmla="*/ 92711 w 4512965"/>
              <a:gd name="connsiteY7" fmla="*/ 6863715 h 6863715"/>
              <a:gd name="connsiteX8" fmla="*/ 0 w 4512965"/>
              <a:gd name="connsiteY8" fmla="*/ 186 h 6863715"/>
              <a:gd name="connsiteX0" fmla="*/ 0 w 4512965"/>
              <a:gd name="connsiteY0" fmla="*/ 186 h 6860540"/>
              <a:gd name="connsiteX1" fmla="*/ 2319833 w 4512965"/>
              <a:gd name="connsiteY1" fmla="*/ 0 h 6860540"/>
              <a:gd name="connsiteX2" fmla="*/ 2323009 w 4512965"/>
              <a:gd name="connsiteY2" fmla="*/ 1724025 h 6860540"/>
              <a:gd name="connsiteX3" fmla="*/ 4041728 w 4512965"/>
              <a:gd name="connsiteY3" fmla="*/ 1726406 h 6860540"/>
              <a:gd name="connsiteX4" fmla="*/ 4042610 w 4512965"/>
              <a:gd name="connsiteY4" fmla="*/ 168 h 6860540"/>
              <a:gd name="connsiteX5" fmla="*/ 4510441 w 4512965"/>
              <a:gd name="connsiteY5" fmla="*/ 55 h 6860540"/>
              <a:gd name="connsiteX6" fmla="*/ 4512965 w 4512965"/>
              <a:gd name="connsiteY6" fmla="*/ 6860382 h 6860540"/>
              <a:gd name="connsiteX7" fmla="*/ 10161 w 4512965"/>
              <a:gd name="connsiteY7" fmla="*/ 6860540 h 6860540"/>
              <a:gd name="connsiteX8" fmla="*/ 0 w 4512965"/>
              <a:gd name="connsiteY8" fmla="*/ 186 h 6860540"/>
              <a:gd name="connsiteX0" fmla="*/ 5714 w 4502804"/>
              <a:gd name="connsiteY0" fmla="*/ 186 h 6860540"/>
              <a:gd name="connsiteX1" fmla="*/ 2309672 w 4502804"/>
              <a:gd name="connsiteY1" fmla="*/ 0 h 6860540"/>
              <a:gd name="connsiteX2" fmla="*/ 2312848 w 4502804"/>
              <a:gd name="connsiteY2" fmla="*/ 1724025 h 6860540"/>
              <a:gd name="connsiteX3" fmla="*/ 4031567 w 4502804"/>
              <a:gd name="connsiteY3" fmla="*/ 1726406 h 6860540"/>
              <a:gd name="connsiteX4" fmla="*/ 4032449 w 4502804"/>
              <a:gd name="connsiteY4" fmla="*/ 168 h 6860540"/>
              <a:gd name="connsiteX5" fmla="*/ 4500280 w 4502804"/>
              <a:gd name="connsiteY5" fmla="*/ 55 h 6860540"/>
              <a:gd name="connsiteX6" fmla="*/ 4502804 w 4502804"/>
              <a:gd name="connsiteY6" fmla="*/ 6860382 h 6860540"/>
              <a:gd name="connsiteX7" fmla="*/ 0 w 4502804"/>
              <a:gd name="connsiteY7" fmla="*/ 6860540 h 6860540"/>
              <a:gd name="connsiteX8" fmla="*/ 5714 w 4502804"/>
              <a:gd name="connsiteY8" fmla="*/ 186 h 6860540"/>
              <a:gd name="connsiteX0" fmla="*/ 380364 w 4502804"/>
              <a:gd name="connsiteY0" fmla="*/ 238311 h 6860540"/>
              <a:gd name="connsiteX1" fmla="*/ 2309672 w 4502804"/>
              <a:gd name="connsiteY1" fmla="*/ 0 h 6860540"/>
              <a:gd name="connsiteX2" fmla="*/ 2312848 w 4502804"/>
              <a:gd name="connsiteY2" fmla="*/ 1724025 h 6860540"/>
              <a:gd name="connsiteX3" fmla="*/ 4031567 w 4502804"/>
              <a:gd name="connsiteY3" fmla="*/ 1726406 h 6860540"/>
              <a:gd name="connsiteX4" fmla="*/ 4032449 w 4502804"/>
              <a:gd name="connsiteY4" fmla="*/ 168 h 6860540"/>
              <a:gd name="connsiteX5" fmla="*/ 4500280 w 4502804"/>
              <a:gd name="connsiteY5" fmla="*/ 55 h 6860540"/>
              <a:gd name="connsiteX6" fmla="*/ 4502804 w 4502804"/>
              <a:gd name="connsiteY6" fmla="*/ 6860382 h 6860540"/>
              <a:gd name="connsiteX7" fmla="*/ 0 w 4502804"/>
              <a:gd name="connsiteY7" fmla="*/ 6860540 h 6860540"/>
              <a:gd name="connsiteX8" fmla="*/ 380364 w 4502804"/>
              <a:gd name="connsiteY8" fmla="*/ 238311 h 6860540"/>
              <a:gd name="connsiteX0" fmla="*/ 2539 w 4502804"/>
              <a:gd name="connsiteY0" fmla="*/ 0 h 6863529"/>
              <a:gd name="connsiteX1" fmla="*/ 2309672 w 4502804"/>
              <a:gd name="connsiteY1" fmla="*/ 2989 h 6863529"/>
              <a:gd name="connsiteX2" fmla="*/ 2312848 w 4502804"/>
              <a:gd name="connsiteY2" fmla="*/ 1727014 h 6863529"/>
              <a:gd name="connsiteX3" fmla="*/ 4031567 w 4502804"/>
              <a:gd name="connsiteY3" fmla="*/ 1729395 h 6863529"/>
              <a:gd name="connsiteX4" fmla="*/ 4032449 w 4502804"/>
              <a:gd name="connsiteY4" fmla="*/ 3157 h 6863529"/>
              <a:gd name="connsiteX5" fmla="*/ 4500280 w 4502804"/>
              <a:gd name="connsiteY5" fmla="*/ 3044 h 6863529"/>
              <a:gd name="connsiteX6" fmla="*/ 4502804 w 4502804"/>
              <a:gd name="connsiteY6" fmla="*/ 6863371 h 6863529"/>
              <a:gd name="connsiteX7" fmla="*/ 0 w 4502804"/>
              <a:gd name="connsiteY7" fmla="*/ 6863529 h 6863529"/>
              <a:gd name="connsiteX8" fmla="*/ 2539 w 4502804"/>
              <a:gd name="connsiteY8" fmla="*/ 0 h 6863529"/>
              <a:gd name="connsiteX0" fmla="*/ 659764 w 4502804"/>
              <a:gd name="connsiteY0" fmla="*/ 0 h 6863529"/>
              <a:gd name="connsiteX1" fmla="*/ 2309672 w 4502804"/>
              <a:gd name="connsiteY1" fmla="*/ 2989 h 6863529"/>
              <a:gd name="connsiteX2" fmla="*/ 2312848 w 4502804"/>
              <a:gd name="connsiteY2" fmla="*/ 1727014 h 6863529"/>
              <a:gd name="connsiteX3" fmla="*/ 4031567 w 4502804"/>
              <a:gd name="connsiteY3" fmla="*/ 1729395 h 6863529"/>
              <a:gd name="connsiteX4" fmla="*/ 4032449 w 4502804"/>
              <a:gd name="connsiteY4" fmla="*/ 3157 h 6863529"/>
              <a:gd name="connsiteX5" fmla="*/ 4500280 w 4502804"/>
              <a:gd name="connsiteY5" fmla="*/ 3044 h 6863529"/>
              <a:gd name="connsiteX6" fmla="*/ 4502804 w 4502804"/>
              <a:gd name="connsiteY6" fmla="*/ 6863371 h 6863529"/>
              <a:gd name="connsiteX7" fmla="*/ 0 w 4502804"/>
              <a:gd name="connsiteY7" fmla="*/ 6863529 h 6863529"/>
              <a:gd name="connsiteX8" fmla="*/ 659764 w 4502804"/>
              <a:gd name="connsiteY8" fmla="*/ 0 h 6863529"/>
              <a:gd name="connsiteX0" fmla="*/ 2539 w 3845579"/>
              <a:gd name="connsiteY0" fmla="*/ 0 h 6863529"/>
              <a:gd name="connsiteX1" fmla="*/ 1652447 w 3845579"/>
              <a:gd name="connsiteY1" fmla="*/ 2989 h 6863529"/>
              <a:gd name="connsiteX2" fmla="*/ 1655623 w 3845579"/>
              <a:gd name="connsiteY2" fmla="*/ 1727014 h 6863529"/>
              <a:gd name="connsiteX3" fmla="*/ 3374342 w 3845579"/>
              <a:gd name="connsiteY3" fmla="*/ 1729395 h 6863529"/>
              <a:gd name="connsiteX4" fmla="*/ 3375224 w 3845579"/>
              <a:gd name="connsiteY4" fmla="*/ 3157 h 6863529"/>
              <a:gd name="connsiteX5" fmla="*/ 3843055 w 3845579"/>
              <a:gd name="connsiteY5" fmla="*/ 3044 h 6863529"/>
              <a:gd name="connsiteX6" fmla="*/ 3845579 w 3845579"/>
              <a:gd name="connsiteY6" fmla="*/ 6863371 h 6863529"/>
              <a:gd name="connsiteX7" fmla="*/ 0 w 3845579"/>
              <a:gd name="connsiteY7" fmla="*/ 6863529 h 6863529"/>
              <a:gd name="connsiteX8" fmla="*/ 2539 w 3845579"/>
              <a:gd name="connsiteY8" fmla="*/ 0 h 6863529"/>
              <a:gd name="connsiteX0" fmla="*/ 0 w 9148465"/>
              <a:gd name="connsiteY0" fmla="*/ 0 h 6863529"/>
              <a:gd name="connsiteX1" fmla="*/ 6955333 w 9148465"/>
              <a:gd name="connsiteY1" fmla="*/ 2989 h 6863529"/>
              <a:gd name="connsiteX2" fmla="*/ 6958509 w 9148465"/>
              <a:gd name="connsiteY2" fmla="*/ 1727014 h 6863529"/>
              <a:gd name="connsiteX3" fmla="*/ 8677228 w 9148465"/>
              <a:gd name="connsiteY3" fmla="*/ 1729395 h 6863529"/>
              <a:gd name="connsiteX4" fmla="*/ 8678110 w 9148465"/>
              <a:gd name="connsiteY4" fmla="*/ 3157 h 6863529"/>
              <a:gd name="connsiteX5" fmla="*/ 9145941 w 9148465"/>
              <a:gd name="connsiteY5" fmla="*/ 3044 h 6863529"/>
              <a:gd name="connsiteX6" fmla="*/ 9148465 w 9148465"/>
              <a:gd name="connsiteY6" fmla="*/ 6863371 h 6863529"/>
              <a:gd name="connsiteX7" fmla="*/ 5302886 w 9148465"/>
              <a:gd name="connsiteY7" fmla="*/ 6863529 h 6863529"/>
              <a:gd name="connsiteX8" fmla="*/ 0 w 9148465"/>
              <a:gd name="connsiteY8" fmla="*/ 0 h 6863529"/>
              <a:gd name="connsiteX0" fmla="*/ 2539 w 9151004"/>
              <a:gd name="connsiteY0" fmla="*/ 0 h 6863529"/>
              <a:gd name="connsiteX1" fmla="*/ 6957872 w 9151004"/>
              <a:gd name="connsiteY1" fmla="*/ 2989 h 6863529"/>
              <a:gd name="connsiteX2" fmla="*/ 6961048 w 9151004"/>
              <a:gd name="connsiteY2" fmla="*/ 1727014 h 6863529"/>
              <a:gd name="connsiteX3" fmla="*/ 8679767 w 9151004"/>
              <a:gd name="connsiteY3" fmla="*/ 1729395 h 6863529"/>
              <a:gd name="connsiteX4" fmla="*/ 8680649 w 9151004"/>
              <a:gd name="connsiteY4" fmla="*/ 3157 h 6863529"/>
              <a:gd name="connsiteX5" fmla="*/ 9148480 w 9151004"/>
              <a:gd name="connsiteY5" fmla="*/ 3044 h 6863529"/>
              <a:gd name="connsiteX6" fmla="*/ 9151004 w 9151004"/>
              <a:gd name="connsiteY6" fmla="*/ 6863371 h 6863529"/>
              <a:gd name="connsiteX7" fmla="*/ 0 w 9151004"/>
              <a:gd name="connsiteY7" fmla="*/ 6863529 h 6863529"/>
              <a:gd name="connsiteX8" fmla="*/ 2539 w 9151004"/>
              <a:gd name="connsiteY8" fmla="*/ 0 h 6863529"/>
              <a:gd name="connsiteX0" fmla="*/ 3 w 9148468"/>
              <a:gd name="connsiteY0" fmla="*/ 0 h 6863371"/>
              <a:gd name="connsiteX1" fmla="*/ 6955336 w 9148468"/>
              <a:gd name="connsiteY1" fmla="*/ 2989 h 6863371"/>
              <a:gd name="connsiteX2" fmla="*/ 6958512 w 9148468"/>
              <a:gd name="connsiteY2" fmla="*/ 1727014 h 6863371"/>
              <a:gd name="connsiteX3" fmla="*/ 8677231 w 9148468"/>
              <a:gd name="connsiteY3" fmla="*/ 1729395 h 6863371"/>
              <a:gd name="connsiteX4" fmla="*/ 8678113 w 9148468"/>
              <a:gd name="connsiteY4" fmla="*/ 3157 h 6863371"/>
              <a:gd name="connsiteX5" fmla="*/ 9145944 w 9148468"/>
              <a:gd name="connsiteY5" fmla="*/ 3044 h 6863371"/>
              <a:gd name="connsiteX6" fmla="*/ 9148468 w 9148468"/>
              <a:gd name="connsiteY6" fmla="*/ 6863371 h 6863371"/>
              <a:gd name="connsiteX7" fmla="*/ 906454 w 9148468"/>
              <a:gd name="connsiteY7" fmla="*/ 5397242 h 6863371"/>
              <a:gd name="connsiteX8" fmla="*/ 3 w 9148468"/>
              <a:gd name="connsiteY8" fmla="*/ 0 h 6863371"/>
              <a:gd name="connsiteX0" fmla="*/ 345 w 9148810"/>
              <a:gd name="connsiteY0" fmla="*/ 0 h 6863371"/>
              <a:gd name="connsiteX1" fmla="*/ 6955678 w 9148810"/>
              <a:gd name="connsiteY1" fmla="*/ 2989 h 6863371"/>
              <a:gd name="connsiteX2" fmla="*/ 6958854 w 9148810"/>
              <a:gd name="connsiteY2" fmla="*/ 1727014 h 6863371"/>
              <a:gd name="connsiteX3" fmla="*/ 8677573 w 9148810"/>
              <a:gd name="connsiteY3" fmla="*/ 1729395 h 6863371"/>
              <a:gd name="connsiteX4" fmla="*/ 8678455 w 9148810"/>
              <a:gd name="connsiteY4" fmla="*/ 3157 h 6863371"/>
              <a:gd name="connsiteX5" fmla="*/ 9146286 w 9148810"/>
              <a:gd name="connsiteY5" fmla="*/ 3044 h 6863371"/>
              <a:gd name="connsiteX6" fmla="*/ 9148810 w 9148810"/>
              <a:gd name="connsiteY6" fmla="*/ 6863371 h 6863371"/>
              <a:gd name="connsiteX7" fmla="*/ 3217 w 9148810"/>
              <a:gd name="connsiteY7" fmla="*/ 5148352 h 6863371"/>
              <a:gd name="connsiteX8" fmla="*/ 345 w 9148810"/>
              <a:gd name="connsiteY8" fmla="*/ 0 h 6863371"/>
              <a:gd name="connsiteX0" fmla="*/ 345 w 9146296"/>
              <a:gd name="connsiteY0" fmla="*/ 0 h 5359210"/>
              <a:gd name="connsiteX1" fmla="*/ 6955678 w 9146296"/>
              <a:gd name="connsiteY1" fmla="*/ 2989 h 5359210"/>
              <a:gd name="connsiteX2" fmla="*/ 6958854 w 9146296"/>
              <a:gd name="connsiteY2" fmla="*/ 1727014 h 5359210"/>
              <a:gd name="connsiteX3" fmla="*/ 8677573 w 9146296"/>
              <a:gd name="connsiteY3" fmla="*/ 1729395 h 5359210"/>
              <a:gd name="connsiteX4" fmla="*/ 8678455 w 9146296"/>
              <a:gd name="connsiteY4" fmla="*/ 3157 h 5359210"/>
              <a:gd name="connsiteX5" fmla="*/ 9146286 w 9146296"/>
              <a:gd name="connsiteY5" fmla="*/ 3044 h 5359210"/>
              <a:gd name="connsiteX6" fmla="*/ 9100114 w 9146296"/>
              <a:gd name="connsiteY6" fmla="*/ 5359210 h 5359210"/>
              <a:gd name="connsiteX7" fmla="*/ 3217 w 9146296"/>
              <a:gd name="connsiteY7" fmla="*/ 5148352 h 5359210"/>
              <a:gd name="connsiteX8" fmla="*/ 345 w 9146296"/>
              <a:gd name="connsiteY8" fmla="*/ 0 h 5359210"/>
              <a:gd name="connsiteX0" fmla="*/ 345 w 9148810"/>
              <a:gd name="connsiteY0" fmla="*/ 0 h 5148352"/>
              <a:gd name="connsiteX1" fmla="*/ 6955678 w 9148810"/>
              <a:gd name="connsiteY1" fmla="*/ 2989 h 5148352"/>
              <a:gd name="connsiteX2" fmla="*/ 6958854 w 9148810"/>
              <a:gd name="connsiteY2" fmla="*/ 1727014 h 5148352"/>
              <a:gd name="connsiteX3" fmla="*/ 8677573 w 9148810"/>
              <a:gd name="connsiteY3" fmla="*/ 1729395 h 5148352"/>
              <a:gd name="connsiteX4" fmla="*/ 8678455 w 9148810"/>
              <a:gd name="connsiteY4" fmla="*/ 3157 h 5148352"/>
              <a:gd name="connsiteX5" fmla="*/ 9146286 w 9148810"/>
              <a:gd name="connsiteY5" fmla="*/ 3044 h 5148352"/>
              <a:gd name="connsiteX6" fmla="*/ 9148810 w 9148810"/>
              <a:gd name="connsiteY6" fmla="*/ 5137373 h 5148352"/>
              <a:gd name="connsiteX7" fmla="*/ 3217 w 9148810"/>
              <a:gd name="connsiteY7" fmla="*/ 5148352 h 5148352"/>
              <a:gd name="connsiteX8" fmla="*/ 345 w 9148810"/>
              <a:gd name="connsiteY8" fmla="*/ 0 h 5148352"/>
              <a:gd name="connsiteX0" fmla="*/ 345 w 9148810"/>
              <a:gd name="connsiteY0" fmla="*/ 0 h 5148352"/>
              <a:gd name="connsiteX1" fmla="*/ 6955678 w 9148810"/>
              <a:gd name="connsiteY1" fmla="*/ 2989 h 5148352"/>
              <a:gd name="connsiteX2" fmla="*/ 6958854 w 9148810"/>
              <a:gd name="connsiteY2" fmla="*/ 1727014 h 5148352"/>
              <a:gd name="connsiteX3" fmla="*/ 8677573 w 9148810"/>
              <a:gd name="connsiteY3" fmla="*/ 1729395 h 5148352"/>
              <a:gd name="connsiteX4" fmla="*/ 8678455 w 9148810"/>
              <a:gd name="connsiteY4" fmla="*/ 3157 h 5148352"/>
              <a:gd name="connsiteX5" fmla="*/ 9146286 w 9148810"/>
              <a:gd name="connsiteY5" fmla="*/ 3044 h 5148352"/>
              <a:gd name="connsiteX6" fmla="*/ 9148810 w 9148810"/>
              <a:gd name="connsiteY6" fmla="*/ 5146898 h 5148352"/>
              <a:gd name="connsiteX7" fmla="*/ 3217 w 9148810"/>
              <a:gd name="connsiteY7" fmla="*/ 5148352 h 5148352"/>
              <a:gd name="connsiteX8" fmla="*/ 345 w 9148810"/>
              <a:gd name="connsiteY8" fmla="*/ 0 h 5148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148810" h="5148352">
                <a:moveTo>
                  <a:pt x="345" y="0"/>
                </a:moveTo>
                <a:lnTo>
                  <a:pt x="6955678" y="2989"/>
                </a:lnTo>
                <a:cubicBezTo>
                  <a:pt x="6957530" y="577664"/>
                  <a:pt x="6957002" y="1152339"/>
                  <a:pt x="6958854" y="1727014"/>
                </a:cubicBezTo>
                <a:lnTo>
                  <a:pt x="8677573" y="1729395"/>
                </a:lnTo>
                <a:cubicBezTo>
                  <a:pt x="8677073" y="1154776"/>
                  <a:pt x="8678955" y="577776"/>
                  <a:pt x="8678455" y="3157"/>
                </a:cubicBezTo>
                <a:lnTo>
                  <a:pt x="9146286" y="3044"/>
                </a:lnTo>
                <a:cubicBezTo>
                  <a:pt x="9147127" y="2035820"/>
                  <a:pt x="9147548" y="1716734"/>
                  <a:pt x="9148810" y="5146898"/>
                </a:cubicBezTo>
                <a:lnTo>
                  <a:pt x="3217" y="5148352"/>
                </a:lnTo>
                <a:cubicBezTo>
                  <a:pt x="5122" y="2861567"/>
                  <a:pt x="-1560" y="2286785"/>
                  <a:pt x="345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de-DE"/>
          </a:p>
        </p:txBody>
      </p:sp>
      <p:sp>
        <p:nvSpPr>
          <p:cNvPr id="9" name="Titel 3"/>
          <p:cNvSpPr>
            <a:spLocks noGrp="1"/>
          </p:cNvSpPr>
          <p:nvPr>
            <p:ph type="title"/>
          </p:nvPr>
        </p:nvSpPr>
        <p:spPr>
          <a:xfrm>
            <a:off x="1115616" y="1995686"/>
            <a:ext cx="5472509" cy="1477327"/>
          </a:xfrm>
        </p:spPr>
        <p:txBody>
          <a:bodyPr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10" name="Textplatzhalter 4"/>
          <p:cNvSpPr>
            <a:spLocks noGrp="1"/>
          </p:cNvSpPr>
          <p:nvPr>
            <p:ph type="body" sz="quarter" idx="11"/>
          </p:nvPr>
        </p:nvSpPr>
        <p:spPr>
          <a:xfrm>
            <a:off x="1116013" y="3418563"/>
            <a:ext cx="5472112" cy="1152525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8488" y="-1587"/>
            <a:ext cx="1727200" cy="172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01217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 HERVORHEBUNG MIT VIEL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88A6D120-9FDF-4BA4-88F2-0C6E4507EEA9}"/>
              </a:ext>
            </a:extLst>
          </p:cNvPr>
          <p:cNvSpPr/>
          <p:nvPr userDrawn="1"/>
        </p:nvSpPr>
        <p:spPr>
          <a:xfrm>
            <a:off x="0" y="0"/>
            <a:ext cx="9144000" cy="514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5F15F71-44DB-4D13-AE55-D28F1D1B73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8000" y="756000"/>
            <a:ext cx="8172000" cy="720000"/>
          </a:xfrm>
        </p:spPr>
        <p:txBody>
          <a:bodyPr/>
          <a:lstStyle>
            <a:lvl1pPr>
              <a:lnSpc>
                <a:spcPts val="5700"/>
              </a:lnSpc>
              <a:defRPr sz="4800" b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Kapitel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F3B6EDCF-E80D-4E83-A8E4-8D2B26F44C7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8000" y="1476441"/>
            <a:ext cx="8172000" cy="1439863"/>
          </a:xfrm>
        </p:spPr>
        <p:txBody>
          <a:bodyPr/>
          <a:lstStyle>
            <a:lvl1pPr>
              <a:lnSpc>
                <a:spcPts val="5700"/>
              </a:lnSpc>
              <a:defRPr sz="4800" b="1">
                <a:solidFill>
                  <a:schemeClr val="bg1"/>
                </a:solidFill>
              </a:defRPr>
            </a:lvl1pPr>
            <a:lvl2pPr>
              <a:lnSpc>
                <a:spcPts val="5700"/>
              </a:lnSpc>
              <a:defRPr sz="4800" b="1">
                <a:solidFill>
                  <a:schemeClr val="bg1"/>
                </a:solidFill>
              </a:defRPr>
            </a:lvl2pPr>
            <a:lvl3pPr>
              <a:lnSpc>
                <a:spcPts val="5700"/>
              </a:lnSpc>
              <a:defRPr sz="4800" b="1">
                <a:solidFill>
                  <a:schemeClr val="bg1"/>
                </a:solidFill>
              </a:defRPr>
            </a:lvl3pPr>
            <a:lvl4pPr>
              <a:lnSpc>
                <a:spcPts val="5700"/>
              </a:lnSpc>
              <a:defRPr sz="4800" b="1">
                <a:solidFill>
                  <a:schemeClr val="bg1"/>
                </a:solidFill>
              </a:defRPr>
            </a:lvl4pPr>
            <a:lvl5pPr>
              <a:lnSpc>
                <a:spcPts val="5700"/>
              </a:lnSpc>
              <a:defRPr sz="4800" b="1">
                <a:solidFill>
                  <a:schemeClr val="bg1"/>
                </a:solidFill>
              </a:defRPr>
            </a:lvl5pPr>
            <a:lvl6pPr>
              <a:lnSpc>
                <a:spcPts val="5700"/>
              </a:lnSpc>
              <a:defRPr sz="4800" b="1">
                <a:solidFill>
                  <a:schemeClr val="bg1"/>
                </a:solidFill>
              </a:defRPr>
            </a:lvl6pPr>
            <a:lvl7pPr>
              <a:lnSpc>
                <a:spcPts val="5700"/>
              </a:lnSpc>
              <a:defRPr sz="4800" b="1">
                <a:solidFill>
                  <a:schemeClr val="bg1"/>
                </a:solidFill>
              </a:defRPr>
            </a:lvl7pPr>
            <a:lvl8pPr>
              <a:lnSpc>
                <a:spcPts val="5700"/>
              </a:lnSpc>
              <a:defRPr sz="4800" b="1">
                <a:solidFill>
                  <a:schemeClr val="bg1"/>
                </a:solidFill>
              </a:defRPr>
            </a:lvl8pPr>
            <a:lvl9pPr>
              <a:lnSpc>
                <a:spcPts val="5700"/>
              </a:lnSpc>
              <a:defRPr sz="48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Hervorhebung</a:t>
            </a:r>
          </a:p>
        </p:txBody>
      </p:sp>
    </p:spTree>
    <p:extLst>
      <p:ext uri="{BB962C8B-B14F-4D97-AF65-F5344CB8AC3E}">
        <p14:creationId xmlns:p14="http://schemas.microsoft.com/office/powerpoint/2010/main" val="29108949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 HERVORHEBUNG MIT VIEL INHALT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88A6D120-9FDF-4BA4-88F2-0C6E4507EEA9}"/>
              </a:ext>
            </a:extLst>
          </p:cNvPr>
          <p:cNvSpPr/>
          <p:nvPr userDrawn="1"/>
        </p:nvSpPr>
        <p:spPr>
          <a:xfrm>
            <a:off x="0" y="0"/>
            <a:ext cx="9144000" cy="514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5F15F71-44DB-4D13-AE55-D28F1D1B73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8000" y="828000"/>
            <a:ext cx="8172000" cy="540000"/>
          </a:xfrm>
        </p:spPr>
        <p:txBody>
          <a:bodyPr/>
          <a:lstStyle>
            <a:lvl1pPr>
              <a:lnSpc>
                <a:spcPts val="44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Kapitel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F3B6EDCF-E80D-4E83-A8E4-8D2B26F44C7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8000" y="1367999"/>
            <a:ext cx="8172000" cy="2916000"/>
          </a:xfrm>
        </p:spPr>
        <p:txBody>
          <a:bodyPr/>
          <a:lstStyle>
            <a:lvl1pPr>
              <a:lnSpc>
                <a:spcPts val="4400"/>
              </a:lnSpc>
              <a:spcAft>
                <a:spcPts val="0"/>
              </a:spcAft>
              <a:defRPr sz="3600" b="0">
                <a:solidFill>
                  <a:schemeClr val="bg1"/>
                </a:solidFill>
              </a:defRPr>
            </a:lvl1pPr>
            <a:lvl2pPr>
              <a:lnSpc>
                <a:spcPts val="4400"/>
              </a:lnSpc>
              <a:defRPr sz="3600" b="0">
                <a:solidFill>
                  <a:schemeClr val="bg1"/>
                </a:solidFill>
              </a:defRPr>
            </a:lvl2pPr>
            <a:lvl3pPr>
              <a:lnSpc>
                <a:spcPts val="4400"/>
              </a:lnSpc>
              <a:defRPr sz="3600" b="0">
                <a:solidFill>
                  <a:schemeClr val="bg1"/>
                </a:solidFill>
              </a:defRPr>
            </a:lvl3pPr>
            <a:lvl4pPr>
              <a:lnSpc>
                <a:spcPts val="4400"/>
              </a:lnSpc>
              <a:defRPr sz="3600" b="0">
                <a:solidFill>
                  <a:schemeClr val="bg1"/>
                </a:solidFill>
              </a:defRPr>
            </a:lvl4pPr>
            <a:lvl5pPr>
              <a:lnSpc>
                <a:spcPts val="4400"/>
              </a:lnSpc>
              <a:defRPr sz="3600" b="0">
                <a:solidFill>
                  <a:schemeClr val="bg1"/>
                </a:solidFill>
              </a:defRPr>
            </a:lvl5pPr>
            <a:lvl6pPr>
              <a:lnSpc>
                <a:spcPts val="4400"/>
              </a:lnSpc>
              <a:defRPr sz="3600" b="0">
                <a:solidFill>
                  <a:schemeClr val="bg1"/>
                </a:solidFill>
              </a:defRPr>
            </a:lvl6pPr>
            <a:lvl7pPr>
              <a:lnSpc>
                <a:spcPts val="4400"/>
              </a:lnSpc>
              <a:defRPr sz="3600" b="0">
                <a:solidFill>
                  <a:schemeClr val="bg1"/>
                </a:solidFill>
              </a:defRPr>
            </a:lvl7pPr>
            <a:lvl8pPr>
              <a:lnSpc>
                <a:spcPts val="4400"/>
              </a:lnSpc>
              <a:defRPr sz="3600" b="0">
                <a:solidFill>
                  <a:schemeClr val="bg1"/>
                </a:solidFill>
              </a:defRPr>
            </a:lvl8pPr>
            <a:lvl9pPr>
              <a:lnSpc>
                <a:spcPts val="4400"/>
              </a:lnSpc>
              <a:defRPr sz="36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Hervorhebung</a:t>
            </a:r>
          </a:p>
          <a:p>
            <a:pPr lvl="1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970510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Headline //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KAPITEL | CHART-HEADLIN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  <a:lvl2pPr defTabSz="234000">
              <a:tabLst>
                <a:tab pos="234000" algn="l"/>
              </a:tabLst>
              <a:defRPr/>
            </a:lvl2pPr>
            <a:lvl3pPr defTabSz="234000">
              <a:tabLst>
                <a:tab pos="234000" algn="l"/>
              </a:tabLst>
              <a:defRPr/>
            </a:lvl3pPr>
            <a:lvl4pPr defTabSz="234000">
              <a:tabLst>
                <a:tab pos="234000" algn="l"/>
              </a:tabLst>
              <a:defRPr/>
            </a:lvl4pPr>
            <a:lvl5pPr defTabSz="234000">
              <a:tabLst>
                <a:tab pos="234000" algn="l"/>
              </a:tabLst>
              <a:defRPr/>
            </a:lvl5pPr>
            <a:lvl6pPr marL="0" indent="0" defTabSz="234000">
              <a:buFont typeface="+mj-lt"/>
              <a:buNone/>
              <a:tabLst>
                <a:tab pos="234000" algn="l"/>
              </a:tabLst>
              <a:defRPr/>
            </a:lvl6pPr>
            <a:lvl7pPr defTabSz="234000">
              <a:tabLst>
                <a:tab pos="234000" algn="l"/>
              </a:tabLst>
              <a:defRPr/>
            </a:lvl7pPr>
            <a:lvl8pPr defTabSz="234000">
              <a:tabLst>
                <a:tab pos="234000" algn="l"/>
              </a:tabLst>
              <a:defRPr/>
            </a:lvl8pPr>
            <a:lvl9pPr defTabSz="234000">
              <a:tabLst>
                <a:tab pos="234000" algn="l"/>
              </a:tabLst>
              <a:defRPr/>
            </a:lvl9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 auf erster Ebene // für weitere Ebenen &gt;&gt; Menü &gt; Start &gt; Absatz &gt; Listenebene erhöh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261E425-9AF3-4B68-A7DE-55697E59E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C8FE19E-1A66-4F06-9454-D8ECA4880C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7058674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 //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KAPITEL | CHART-HEADLI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261E425-9AF3-4B68-A7DE-55697E59E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C8FE19E-1A66-4F06-9454-D8ECA4880C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5" name="Tabellenplatzhalter 4">
            <a:extLst>
              <a:ext uri="{FF2B5EF4-FFF2-40B4-BE49-F238E27FC236}">
                <a16:creationId xmlns:a16="http://schemas.microsoft.com/office/drawing/2014/main" id="{F5A8BB0B-4BD0-4791-8A9B-89C9D0000E35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468000" y="918000"/>
            <a:ext cx="8172000" cy="336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Tabelle durch Klicken auf Symbol hinzufügen</a:t>
            </a:r>
            <a:endParaRPr lang="de-DE" dirty="0"/>
          </a:p>
        </p:txBody>
      </p:sp>
      <p:grpSp>
        <p:nvGrpSpPr>
          <p:cNvPr id="6" name="Regieanweisungen">
            <a:extLst>
              <a:ext uri="{FF2B5EF4-FFF2-40B4-BE49-F238E27FC236}">
                <a16:creationId xmlns:a16="http://schemas.microsoft.com/office/drawing/2014/main" id="{20CE116F-C667-495A-B654-8B72C3A079E7}"/>
              </a:ext>
            </a:extLst>
          </p:cNvPr>
          <p:cNvGrpSpPr/>
          <p:nvPr userDrawn="1"/>
        </p:nvGrpSpPr>
        <p:grpSpPr>
          <a:xfrm>
            <a:off x="-2628800" y="-468000"/>
            <a:ext cx="14833648" cy="6083999"/>
            <a:chOff x="-2628800" y="-468000"/>
            <a:chExt cx="14833648" cy="6083999"/>
          </a:xfrm>
        </p:grpSpPr>
        <p:sp>
          <p:nvSpPr>
            <p:cNvPr id="16" name="Listenebenen">
              <a:extLst>
                <a:ext uri="{FF2B5EF4-FFF2-40B4-BE49-F238E27FC236}">
                  <a16:creationId xmlns:a16="http://schemas.microsoft.com/office/drawing/2014/main" id="{84A0104B-AA90-4DE7-ADAE-6959FBC15DB1}"/>
                </a:ext>
              </a:extLst>
            </p:cNvPr>
            <p:cNvSpPr txBox="1"/>
            <p:nvPr userDrawn="1"/>
          </p:nvSpPr>
          <p:spPr>
            <a:xfrm rot="10800000" flipH="1" flipV="1">
              <a:off x="-2628800" y="1368000"/>
              <a:ext cx="2520800" cy="1527786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905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0" baseline="0" dirty="0">
                  <a:solidFill>
                    <a:schemeClr val="tx1"/>
                  </a:solidFill>
                  <a:latin typeface="+mn-lt"/>
                </a:rPr>
                <a:t>Einfärbung einer Spalte/Zeile: </a:t>
              </a:r>
              <a:br>
                <a:rPr lang="de-DE" sz="1200" b="0" baseline="0" dirty="0">
                  <a:solidFill>
                    <a:schemeClr val="tx1"/>
                  </a:solidFill>
                  <a:latin typeface="+mn-lt"/>
                </a:rPr>
              </a:b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Markieren der Spalte/Zeile:</a:t>
              </a:r>
            </a:p>
            <a:p>
              <a:pPr marL="0" marR="0" lvl="0" indent="0" algn="r" defTabSz="905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 Entwurf / Tabellentools &gt; Schattierung &gt;</a:t>
              </a:r>
            </a:p>
            <a:p>
              <a:pPr marL="0" marR="0" lvl="0" indent="0" algn="r" defTabSz="905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de-DE" sz="1200" b="1" baseline="0" dirty="0">
                <a:solidFill>
                  <a:schemeClr val="tx1"/>
                </a:solidFill>
                <a:latin typeface="+mn-lt"/>
              </a:endParaRPr>
            </a:p>
            <a:p>
              <a:pPr marL="0" marR="0" lvl="0" indent="0" algn="r" defTabSz="905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Die gewünschte Farbe aus den Designfarben auswählen</a:t>
              </a:r>
            </a:p>
          </p:txBody>
        </p:sp>
        <p:sp>
          <p:nvSpPr>
            <p:cNvPr id="10" name="Zurücksetzen">
              <a:extLst>
                <a:ext uri="{FF2B5EF4-FFF2-40B4-BE49-F238E27FC236}">
                  <a16:creationId xmlns:a16="http://schemas.microsoft.com/office/drawing/2014/main" id="{431D1FFE-03BA-4520-A89B-CDD1BC7E4751}"/>
                </a:ext>
              </a:extLst>
            </p:cNvPr>
            <p:cNvSpPr txBox="1"/>
            <p:nvPr userDrawn="1"/>
          </p:nvSpPr>
          <p:spPr>
            <a:xfrm rot="10800000" flipH="1" flipV="1">
              <a:off x="9252000" y="648000"/>
              <a:ext cx="1944000" cy="61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0" baseline="0" dirty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0" baseline="0" dirty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Start &gt; Folien &gt; Zurücksetzen</a:t>
              </a:r>
            </a:p>
          </p:txBody>
        </p:sp>
        <p:sp>
          <p:nvSpPr>
            <p:cNvPr id="11" name="Hilfslinien">
              <a:extLst>
                <a:ext uri="{FF2B5EF4-FFF2-40B4-BE49-F238E27FC236}">
                  <a16:creationId xmlns:a16="http://schemas.microsoft.com/office/drawing/2014/main" id="{38EA8585-E11F-4D10-9DAB-78E6756B2D63}"/>
                </a:ext>
              </a:extLst>
            </p:cNvPr>
            <p:cNvSpPr txBox="1"/>
            <p:nvPr userDrawn="1"/>
          </p:nvSpPr>
          <p:spPr>
            <a:xfrm rot="10800000" flipH="1" flipV="1">
              <a:off x="431801" y="-468000"/>
              <a:ext cx="82804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3341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öschen einer Spalte/Zeile: </a:t>
              </a:r>
              <a:r>
                <a:rPr kumimoji="0" lang="de-DE" sz="12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Markieren der Spalte/Zeile: Layout &gt; Löschen &gt; Spalte bzw. Zeile löschen</a:t>
              </a:r>
            </a:p>
          </p:txBody>
        </p:sp>
        <p:sp>
          <p:nvSpPr>
            <p:cNvPr id="12" name="Fußzeile">
              <a:extLst>
                <a:ext uri="{FF2B5EF4-FFF2-40B4-BE49-F238E27FC236}">
                  <a16:creationId xmlns:a16="http://schemas.microsoft.com/office/drawing/2014/main" id="{4EFB3271-7B15-42ED-A704-B39FAEDC1436}"/>
                </a:ext>
              </a:extLst>
            </p:cNvPr>
            <p:cNvSpPr txBox="1"/>
            <p:nvPr userDrawn="1"/>
          </p:nvSpPr>
          <p:spPr>
            <a:xfrm rot="10800000" flipH="1" flipV="1">
              <a:off x="431800" y="5255998"/>
              <a:ext cx="8280400" cy="360001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3341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0" baseline="0" dirty="0">
                  <a:solidFill>
                    <a:schemeClr val="tx1"/>
                  </a:solidFill>
                  <a:latin typeface="+mn-lt"/>
                </a:rPr>
                <a:t>Fußzeile anpassen: </a:t>
              </a: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  <p:sp>
          <p:nvSpPr>
            <p:cNvPr id="13" name="Layoutwechsel">
              <a:extLst>
                <a:ext uri="{FF2B5EF4-FFF2-40B4-BE49-F238E27FC236}">
                  <a16:creationId xmlns:a16="http://schemas.microsoft.com/office/drawing/2014/main" id="{6BCDAEA0-53BC-4E57-84CA-5C530F05A90E}"/>
                </a:ext>
              </a:extLst>
            </p:cNvPr>
            <p:cNvSpPr txBox="1"/>
            <p:nvPr userDrawn="1"/>
          </p:nvSpPr>
          <p:spPr>
            <a:xfrm rot="10800000" flipH="1" flipV="1">
              <a:off x="9252000" y="2283786"/>
              <a:ext cx="2952848" cy="1044048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0" baseline="0" dirty="0">
                  <a:solidFill>
                    <a:schemeClr val="tx1"/>
                  </a:solidFill>
                  <a:latin typeface="+mn-lt"/>
                </a:rPr>
                <a:t>Einfügen einer Spalte/Zeile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Markieren der Spalte/Zeile neben der eine weitere eingefügt werden soll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Layout &gt; Hier die gewünschte Einfügeoption auswählen</a:t>
              </a:r>
            </a:p>
          </p:txBody>
        </p:sp>
      </p:grp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4573989D-8FFD-4555-AAB7-592C2CE3AC9F}"/>
              </a:ext>
            </a:extLst>
          </p:cNvPr>
          <p:cNvCxnSpPr/>
          <p:nvPr userDrawn="1"/>
        </p:nvCxnSpPr>
        <p:spPr>
          <a:xfrm>
            <a:off x="0" y="4485600"/>
            <a:ext cx="914400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fik 3">
            <a:extLst>
              <a:ext uri="{FF2B5EF4-FFF2-40B4-BE49-F238E27FC236}">
                <a16:creationId xmlns:a16="http://schemas.microsoft.com/office/drawing/2014/main" id="{F3269418-AEC9-43D6-9A0C-41CA02546BA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b="4513"/>
          <a:stretch/>
        </p:blipFill>
        <p:spPr>
          <a:xfrm>
            <a:off x="9252000" y="3327773"/>
            <a:ext cx="2067213" cy="864158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081CC49D-33BF-49DC-B533-86BE2EB412A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308000" y="4679640"/>
            <a:ext cx="1512000" cy="288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25419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Headline //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819031" y="405427"/>
            <a:ext cx="7560000" cy="46800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KAPITEL | CHART-HEADLI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261E425-9AF3-4B68-A7DE-55697E59E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C8FE19E-1A66-4F06-9454-D8ECA4880C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  <a:endParaRPr lang="de-DE" dirty="0"/>
          </a:p>
        </p:txBody>
      </p:sp>
      <p:grpSp>
        <p:nvGrpSpPr>
          <p:cNvPr id="6" name="Regieanweisungen">
            <a:extLst>
              <a:ext uri="{FF2B5EF4-FFF2-40B4-BE49-F238E27FC236}">
                <a16:creationId xmlns:a16="http://schemas.microsoft.com/office/drawing/2014/main" id="{20CE116F-C667-495A-B654-8B72C3A079E7}"/>
              </a:ext>
            </a:extLst>
          </p:cNvPr>
          <p:cNvGrpSpPr/>
          <p:nvPr userDrawn="1"/>
        </p:nvGrpSpPr>
        <p:grpSpPr>
          <a:xfrm>
            <a:off x="-2628800" y="-468000"/>
            <a:ext cx="14833648" cy="6083999"/>
            <a:chOff x="-2628800" y="-468000"/>
            <a:chExt cx="14833648" cy="6083999"/>
          </a:xfrm>
        </p:grpSpPr>
        <p:sp>
          <p:nvSpPr>
            <p:cNvPr id="16" name="Listenebenen">
              <a:extLst>
                <a:ext uri="{FF2B5EF4-FFF2-40B4-BE49-F238E27FC236}">
                  <a16:creationId xmlns:a16="http://schemas.microsoft.com/office/drawing/2014/main" id="{84A0104B-AA90-4DE7-ADAE-6959FBC15DB1}"/>
                </a:ext>
              </a:extLst>
            </p:cNvPr>
            <p:cNvSpPr txBox="1"/>
            <p:nvPr userDrawn="1"/>
          </p:nvSpPr>
          <p:spPr>
            <a:xfrm rot="10800000" flipH="1" flipV="1">
              <a:off x="-2628800" y="1368000"/>
              <a:ext cx="2520800" cy="1527786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905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0" baseline="0" dirty="0">
                  <a:solidFill>
                    <a:schemeClr val="tx1"/>
                  </a:solidFill>
                  <a:latin typeface="+mn-lt"/>
                </a:rPr>
                <a:t>Einfärbung einer Spalte/Zeile: </a:t>
              </a:r>
              <a:br>
                <a:rPr lang="de-DE" sz="1200" b="0" baseline="0" dirty="0">
                  <a:solidFill>
                    <a:schemeClr val="tx1"/>
                  </a:solidFill>
                  <a:latin typeface="+mn-lt"/>
                </a:rPr>
              </a:b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Markieren der Spalte/Zeile:</a:t>
              </a:r>
            </a:p>
            <a:p>
              <a:pPr marL="0" marR="0" lvl="0" indent="0" algn="r" defTabSz="905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 Entwurf / Tabellentools &gt; Schattierung &gt;</a:t>
              </a:r>
            </a:p>
            <a:p>
              <a:pPr marL="0" marR="0" lvl="0" indent="0" algn="r" defTabSz="905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de-DE" sz="1200" b="1" baseline="0" dirty="0">
                <a:solidFill>
                  <a:schemeClr val="tx1"/>
                </a:solidFill>
                <a:latin typeface="+mn-lt"/>
              </a:endParaRPr>
            </a:p>
            <a:p>
              <a:pPr marL="0" marR="0" lvl="0" indent="0" algn="r" defTabSz="905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Die gewünschte Farbe aus den Designfarben auswählen</a:t>
              </a:r>
            </a:p>
          </p:txBody>
        </p:sp>
        <p:sp>
          <p:nvSpPr>
            <p:cNvPr id="10" name="Zurücksetzen">
              <a:extLst>
                <a:ext uri="{FF2B5EF4-FFF2-40B4-BE49-F238E27FC236}">
                  <a16:creationId xmlns:a16="http://schemas.microsoft.com/office/drawing/2014/main" id="{431D1FFE-03BA-4520-A89B-CDD1BC7E4751}"/>
                </a:ext>
              </a:extLst>
            </p:cNvPr>
            <p:cNvSpPr txBox="1"/>
            <p:nvPr userDrawn="1"/>
          </p:nvSpPr>
          <p:spPr>
            <a:xfrm rot="10800000" flipH="1" flipV="1">
              <a:off x="9252000" y="648000"/>
              <a:ext cx="1944000" cy="61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0" baseline="0" dirty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0" baseline="0" dirty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Start &gt; Folien &gt; Zurücksetzen</a:t>
              </a:r>
            </a:p>
          </p:txBody>
        </p:sp>
        <p:sp>
          <p:nvSpPr>
            <p:cNvPr id="11" name="Hilfslinien">
              <a:extLst>
                <a:ext uri="{FF2B5EF4-FFF2-40B4-BE49-F238E27FC236}">
                  <a16:creationId xmlns:a16="http://schemas.microsoft.com/office/drawing/2014/main" id="{38EA8585-E11F-4D10-9DAB-78E6756B2D63}"/>
                </a:ext>
              </a:extLst>
            </p:cNvPr>
            <p:cNvSpPr txBox="1"/>
            <p:nvPr userDrawn="1"/>
          </p:nvSpPr>
          <p:spPr>
            <a:xfrm rot="10800000" flipH="1" flipV="1">
              <a:off x="431801" y="-468000"/>
              <a:ext cx="82804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3341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öschen einer Spalte/Zeile: </a:t>
              </a:r>
              <a:r>
                <a:rPr kumimoji="0" lang="de-DE" sz="12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Markieren der Spalte/Zeile: Layout &gt; Löschen &gt; Spalte bzw. Zeile löschen</a:t>
              </a:r>
            </a:p>
          </p:txBody>
        </p:sp>
        <p:sp>
          <p:nvSpPr>
            <p:cNvPr id="12" name="Fußzeile">
              <a:extLst>
                <a:ext uri="{FF2B5EF4-FFF2-40B4-BE49-F238E27FC236}">
                  <a16:creationId xmlns:a16="http://schemas.microsoft.com/office/drawing/2014/main" id="{4EFB3271-7B15-42ED-A704-B39FAEDC1436}"/>
                </a:ext>
              </a:extLst>
            </p:cNvPr>
            <p:cNvSpPr txBox="1"/>
            <p:nvPr userDrawn="1"/>
          </p:nvSpPr>
          <p:spPr>
            <a:xfrm rot="10800000" flipH="1" flipV="1">
              <a:off x="431800" y="5255998"/>
              <a:ext cx="8280400" cy="360001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3341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0" baseline="0" dirty="0">
                  <a:solidFill>
                    <a:schemeClr val="tx1"/>
                  </a:solidFill>
                  <a:latin typeface="+mn-lt"/>
                </a:rPr>
                <a:t>Fußzeile anpassen: </a:t>
              </a: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  <p:sp>
          <p:nvSpPr>
            <p:cNvPr id="13" name="Layoutwechsel">
              <a:extLst>
                <a:ext uri="{FF2B5EF4-FFF2-40B4-BE49-F238E27FC236}">
                  <a16:creationId xmlns:a16="http://schemas.microsoft.com/office/drawing/2014/main" id="{6BCDAEA0-53BC-4E57-84CA-5C530F05A90E}"/>
                </a:ext>
              </a:extLst>
            </p:cNvPr>
            <p:cNvSpPr txBox="1"/>
            <p:nvPr userDrawn="1"/>
          </p:nvSpPr>
          <p:spPr>
            <a:xfrm rot="10800000" flipH="1" flipV="1">
              <a:off x="9252000" y="2283786"/>
              <a:ext cx="2952848" cy="1044048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0" baseline="0" dirty="0">
                  <a:solidFill>
                    <a:schemeClr val="tx1"/>
                  </a:solidFill>
                  <a:latin typeface="+mn-lt"/>
                </a:rPr>
                <a:t>Einfügen einer Spalte/Zeile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Markieren der Spalte/Zeile neben der eine weitere eingefügt werden soll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Layout &gt; Hier die gewünschte Einfügeoption auswählen</a:t>
              </a:r>
            </a:p>
          </p:txBody>
        </p:sp>
      </p:grp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4573989D-8FFD-4555-AAB7-592C2CE3AC9F}"/>
              </a:ext>
            </a:extLst>
          </p:cNvPr>
          <p:cNvCxnSpPr/>
          <p:nvPr userDrawn="1"/>
        </p:nvCxnSpPr>
        <p:spPr>
          <a:xfrm>
            <a:off x="0" y="4485600"/>
            <a:ext cx="914400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fik 3">
            <a:extLst>
              <a:ext uri="{FF2B5EF4-FFF2-40B4-BE49-F238E27FC236}">
                <a16:creationId xmlns:a16="http://schemas.microsoft.com/office/drawing/2014/main" id="{F3269418-AEC9-43D6-9A0C-41CA02546BA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b="4513"/>
          <a:stretch/>
        </p:blipFill>
        <p:spPr>
          <a:xfrm>
            <a:off x="9252000" y="3327773"/>
            <a:ext cx="2067213" cy="864158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081CC49D-33BF-49DC-B533-86BE2EB412A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308000" y="4679640"/>
            <a:ext cx="1512000" cy="288720"/>
          </a:xfrm>
          <a:prstGeom prst="rect">
            <a:avLst/>
          </a:prstGeom>
        </p:spPr>
      </p:pic>
      <p:sp>
        <p:nvSpPr>
          <p:cNvPr id="7" name="Bildplatzhalter 6">
            <a:extLst>
              <a:ext uri="{FF2B5EF4-FFF2-40B4-BE49-F238E27FC236}">
                <a16:creationId xmlns:a16="http://schemas.microsoft.com/office/drawing/2014/main" id="{EAA78F89-2ACB-412B-A15E-E0257394F08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25238" y="1058863"/>
            <a:ext cx="1655762" cy="1441450"/>
          </a:xfrm>
        </p:spPr>
        <p:txBody>
          <a:bodyPr/>
          <a:lstStyle/>
          <a:p>
            <a:endParaRPr lang="de-DE"/>
          </a:p>
        </p:txBody>
      </p:sp>
      <p:sp>
        <p:nvSpPr>
          <p:cNvPr id="17" name="Bildplatzhalter 6">
            <a:extLst>
              <a:ext uri="{FF2B5EF4-FFF2-40B4-BE49-F238E27FC236}">
                <a16:creationId xmlns:a16="http://schemas.microsoft.com/office/drawing/2014/main" id="{53BA0682-B47F-4367-A3B8-D32510070C9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021886" y="1058863"/>
            <a:ext cx="1655762" cy="1441450"/>
          </a:xfrm>
        </p:spPr>
        <p:txBody>
          <a:bodyPr/>
          <a:lstStyle/>
          <a:p>
            <a:endParaRPr lang="de-DE"/>
          </a:p>
        </p:txBody>
      </p:sp>
      <p:sp>
        <p:nvSpPr>
          <p:cNvPr id="18" name="Bildplatzhalter 6">
            <a:extLst>
              <a:ext uri="{FF2B5EF4-FFF2-40B4-BE49-F238E27FC236}">
                <a16:creationId xmlns:a16="http://schemas.microsoft.com/office/drawing/2014/main" id="{8A034563-AB29-4F37-B5BB-33456532395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818534" y="1060388"/>
            <a:ext cx="1655762" cy="1441450"/>
          </a:xfrm>
        </p:spPr>
        <p:txBody>
          <a:bodyPr/>
          <a:lstStyle/>
          <a:p>
            <a:endParaRPr lang="de-DE"/>
          </a:p>
        </p:txBody>
      </p:sp>
      <p:sp>
        <p:nvSpPr>
          <p:cNvPr id="20" name="Bildplatzhalter 6">
            <a:extLst>
              <a:ext uri="{FF2B5EF4-FFF2-40B4-BE49-F238E27FC236}">
                <a16:creationId xmlns:a16="http://schemas.microsoft.com/office/drawing/2014/main" id="{0424F7CF-E57C-464B-8B50-5B9AC8DA959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615182" y="1060388"/>
            <a:ext cx="1655762" cy="1441450"/>
          </a:xfrm>
        </p:spPr>
        <p:txBody>
          <a:bodyPr/>
          <a:lstStyle/>
          <a:p>
            <a:endParaRPr lang="de-DE"/>
          </a:p>
        </p:txBody>
      </p:sp>
      <p:sp>
        <p:nvSpPr>
          <p:cNvPr id="21" name="Bildplatzhalter 6">
            <a:extLst>
              <a:ext uri="{FF2B5EF4-FFF2-40B4-BE49-F238E27FC236}">
                <a16:creationId xmlns:a16="http://schemas.microsoft.com/office/drawing/2014/main" id="{710B0DF4-ED82-43E1-BDB1-7320C123D7E0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25238" y="2827188"/>
            <a:ext cx="1655762" cy="1441450"/>
          </a:xfrm>
        </p:spPr>
        <p:txBody>
          <a:bodyPr/>
          <a:lstStyle/>
          <a:p>
            <a:endParaRPr lang="de-DE"/>
          </a:p>
        </p:txBody>
      </p:sp>
      <p:sp>
        <p:nvSpPr>
          <p:cNvPr id="22" name="Bildplatzhalter 6">
            <a:extLst>
              <a:ext uri="{FF2B5EF4-FFF2-40B4-BE49-F238E27FC236}">
                <a16:creationId xmlns:a16="http://schemas.microsoft.com/office/drawing/2014/main" id="{B71EE452-5FE7-40D2-B9E1-D5D45EDB5AB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2021886" y="2842320"/>
            <a:ext cx="1655762" cy="1441450"/>
          </a:xfrm>
        </p:spPr>
        <p:txBody>
          <a:bodyPr/>
          <a:lstStyle/>
          <a:p>
            <a:endParaRPr lang="de-DE"/>
          </a:p>
        </p:txBody>
      </p:sp>
      <p:sp>
        <p:nvSpPr>
          <p:cNvPr id="23" name="Bildplatzhalter 6">
            <a:extLst>
              <a:ext uri="{FF2B5EF4-FFF2-40B4-BE49-F238E27FC236}">
                <a16:creationId xmlns:a16="http://schemas.microsoft.com/office/drawing/2014/main" id="{D276B3D8-1DDB-4E7B-9F3D-98786747614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818534" y="2827188"/>
            <a:ext cx="1655762" cy="1441450"/>
          </a:xfrm>
        </p:spPr>
        <p:txBody>
          <a:bodyPr/>
          <a:lstStyle/>
          <a:p>
            <a:endParaRPr lang="de-DE"/>
          </a:p>
        </p:txBody>
      </p:sp>
      <p:sp>
        <p:nvSpPr>
          <p:cNvPr id="24" name="Bildplatzhalter 6">
            <a:extLst>
              <a:ext uri="{FF2B5EF4-FFF2-40B4-BE49-F238E27FC236}">
                <a16:creationId xmlns:a16="http://schemas.microsoft.com/office/drawing/2014/main" id="{07C48AA0-BED2-43CB-AB9B-1BA883F1149C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5609555" y="2825220"/>
            <a:ext cx="1655762" cy="1441450"/>
          </a:xfrm>
        </p:spPr>
        <p:txBody>
          <a:bodyPr/>
          <a:lstStyle/>
          <a:p>
            <a:endParaRPr lang="de-DE"/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DFDB2DC1-8B4F-4765-964F-31538821C2D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451725" y="1060450"/>
            <a:ext cx="1584325" cy="320675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3813125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EC3A98A1-0379-4B57-A126-017C70E1949C}"/>
              </a:ext>
            </a:extLst>
          </p:cNvPr>
          <p:cNvSpPr>
            <a:spLocks noGrp="1" noChangeAspect="1"/>
          </p:cNvSpPr>
          <p:nvPr>
            <p:ph type="pic" sz="quarter" idx="10" hasCustomPrompt="1"/>
          </p:nvPr>
        </p:nvSpPr>
        <p:spPr>
          <a:xfrm>
            <a:off x="0" y="0"/>
            <a:ext cx="9144000" cy="5148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 dirty="0"/>
              <a:t>Vollbild durch klicken einfügen.</a:t>
            </a:r>
          </a:p>
        </p:txBody>
      </p:sp>
    </p:spTree>
    <p:extLst>
      <p:ext uri="{BB962C8B-B14F-4D97-AF65-F5344CB8AC3E}">
        <p14:creationId xmlns:p14="http://schemas.microsoft.com/office/powerpoint/2010/main" val="391117791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kle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EC3A98A1-0379-4B57-A126-017C70E1949C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2052000" y="468000"/>
            <a:ext cx="5040000" cy="336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97D7879-BA70-4DD0-99E9-74C1A1FA34B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B422CC4-3EFE-4A06-B194-FAB2C24ECED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DC3B07E-B021-4B5C-9450-33EDD58444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51999" y="3952800"/>
            <a:ext cx="5040000" cy="324000"/>
          </a:xfrm>
        </p:spPr>
        <p:txBody>
          <a:bodyPr/>
          <a:lstStyle>
            <a:lvl1pPr>
              <a:lnSpc>
                <a:spcPts val="1200"/>
              </a:lnSpc>
              <a:spcAft>
                <a:spcPts val="0"/>
              </a:spcAft>
              <a:defRPr sz="900"/>
            </a:lvl1pPr>
            <a:lvl2pPr>
              <a:lnSpc>
                <a:spcPts val="1200"/>
              </a:lnSpc>
              <a:spcAft>
                <a:spcPts val="0"/>
              </a:spcAft>
              <a:defRPr sz="900"/>
            </a:lvl2pPr>
            <a:lvl3pPr>
              <a:lnSpc>
                <a:spcPts val="1200"/>
              </a:lnSpc>
              <a:spcAft>
                <a:spcPts val="0"/>
              </a:spcAft>
              <a:defRPr sz="900"/>
            </a:lvl3pPr>
            <a:lvl4pPr>
              <a:lnSpc>
                <a:spcPts val="1200"/>
              </a:lnSpc>
              <a:spcAft>
                <a:spcPts val="0"/>
              </a:spcAft>
              <a:defRPr sz="900"/>
            </a:lvl4pPr>
            <a:lvl5pPr>
              <a:lnSpc>
                <a:spcPts val="1200"/>
              </a:lnSpc>
              <a:spcAft>
                <a:spcPts val="0"/>
              </a:spcAft>
              <a:defRPr sz="900"/>
            </a:lvl5pPr>
            <a:lvl6pPr>
              <a:lnSpc>
                <a:spcPts val="1200"/>
              </a:lnSpc>
              <a:spcAft>
                <a:spcPts val="0"/>
              </a:spcAft>
              <a:defRPr sz="900"/>
            </a:lvl6pPr>
            <a:lvl7pPr>
              <a:lnSpc>
                <a:spcPts val="1200"/>
              </a:lnSpc>
              <a:spcAft>
                <a:spcPts val="0"/>
              </a:spcAft>
              <a:defRPr sz="900"/>
            </a:lvl7pPr>
            <a:lvl8pPr>
              <a:lnSpc>
                <a:spcPts val="1200"/>
              </a:lnSpc>
              <a:spcAft>
                <a:spcPts val="0"/>
              </a:spcAft>
              <a:defRPr sz="900"/>
            </a:lvl8pPr>
            <a:lvl9pPr>
              <a:lnSpc>
                <a:spcPts val="1200"/>
              </a:lnSpc>
              <a:spcAft>
                <a:spcPts val="0"/>
              </a:spcAft>
              <a:defRPr sz="900"/>
            </a:lvl9pPr>
          </a:lstStyle>
          <a:p>
            <a:pPr lvl="0"/>
            <a:r>
              <a:rPr lang="de-DE" dirty="0"/>
              <a:t>Bildunterzeile // für weitere Ebenen (Text)  &gt;&gt; Menü &gt; Start &gt; Absatz &gt; Listenebene erhöhen </a:t>
            </a:r>
          </a:p>
          <a:p>
            <a:pPr lvl="1"/>
            <a:r>
              <a:rPr lang="de-DE" dirty="0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23257041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292" userDrawn="1">
          <p15:clr>
            <a:srgbClr val="FBAE40"/>
          </p15:clr>
        </p15:guide>
        <p15:guide id="2" pos="4468" userDrawn="1">
          <p15:clr>
            <a:srgbClr val="FBAE40"/>
          </p15:clr>
        </p15:guide>
        <p15:guide id="3" orient="horz" pos="291" userDrawn="1">
          <p15:clr>
            <a:srgbClr val="FBAE40"/>
          </p15:clr>
        </p15:guide>
        <p15:guide id="4" orient="horz" pos="2419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EC3A98A1-0379-4B57-A126-017C70E1949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68000" y="468000"/>
            <a:ext cx="3960000" cy="264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97D7879-BA70-4DD0-99E9-74C1A1FA34B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B422CC4-3EFE-4A06-B194-FAB2C24ECED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DC3B07E-B021-4B5C-9450-33EDD58444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000" y="3240000"/>
            <a:ext cx="3960000" cy="1044000"/>
          </a:xfrm>
        </p:spPr>
        <p:txBody>
          <a:bodyPr/>
          <a:lstStyle>
            <a:lvl1pPr>
              <a:lnSpc>
                <a:spcPts val="1200"/>
              </a:lnSpc>
              <a:spcAft>
                <a:spcPts val="0"/>
              </a:spcAft>
              <a:defRPr sz="900"/>
            </a:lvl1pPr>
            <a:lvl2pPr>
              <a:lnSpc>
                <a:spcPts val="1200"/>
              </a:lnSpc>
              <a:spcAft>
                <a:spcPts val="0"/>
              </a:spcAft>
              <a:defRPr sz="900"/>
            </a:lvl2pPr>
            <a:lvl3pPr>
              <a:lnSpc>
                <a:spcPts val="1200"/>
              </a:lnSpc>
              <a:spcAft>
                <a:spcPts val="0"/>
              </a:spcAft>
              <a:defRPr sz="900"/>
            </a:lvl3pPr>
            <a:lvl4pPr>
              <a:lnSpc>
                <a:spcPts val="1200"/>
              </a:lnSpc>
              <a:spcAft>
                <a:spcPts val="0"/>
              </a:spcAft>
              <a:defRPr sz="900"/>
            </a:lvl4pPr>
            <a:lvl5pPr>
              <a:lnSpc>
                <a:spcPts val="1200"/>
              </a:lnSpc>
              <a:spcAft>
                <a:spcPts val="0"/>
              </a:spcAft>
              <a:defRPr sz="900"/>
            </a:lvl5pPr>
            <a:lvl6pPr>
              <a:lnSpc>
                <a:spcPts val="1200"/>
              </a:lnSpc>
              <a:spcAft>
                <a:spcPts val="0"/>
              </a:spcAft>
              <a:defRPr sz="900"/>
            </a:lvl6pPr>
            <a:lvl7pPr>
              <a:lnSpc>
                <a:spcPts val="1200"/>
              </a:lnSpc>
              <a:spcAft>
                <a:spcPts val="0"/>
              </a:spcAft>
              <a:defRPr sz="900"/>
            </a:lvl7pPr>
            <a:lvl8pPr>
              <a:lnSpc>
                <a:spcPts val="1200"/>
              </a:lnSpc>
              <a:spcAft>
                <a:spcPts val="0"/>
              </a:spcAft>
              <a:defRPr sz="900"/>
            </a:lvl8pPr>
            <a:lvl9pPr>
              <a:lnSpc>
                <a:spcPts val="1200"/>
              </a:lnSpc>
              <a:spcAft>
                <a:spcPts val="0"/>
              </a:spcAft>
              <a:defRPr sz="900"/>
            </a:lvl9pPr>
          </a:lstStyle>
          <a:p>
            <a:pPr lvl="0"/>
            <a:r>
              <a:rPr lang="de-DE" dirty="0"/>
              <a:t>Bildunterzeile </a:t>
            </a:r>
            <a:r>
              <a:rPr lang="de-DE" dirty="0" err="1"/>
              <a:t>Bildunterzeile</a:t>
            </a:r>
            <a:r>
              <a:rPr lang="de-DE" dirty="0"/>
              <a:t> // für weitere Ebenen (Text)  &gt;&gt; Menü &gt; Start &gt; Absatz &gt; Listenebene erhöhen </a:t>
            </a:r>
          </a:p>
          <a:p>
            <a:pPr lvl="1"/>
            <a:r>
              <a:rPr lang="de-DE" dirty="0"/>
              <a:t>Zweite Ebene</a:t>
            </a:r>
          </a:p>
        </p:txBody>
      </p:sp>
      <p:sp>
        <p:nvSpPr>
          <p:cNvPr id="8" name="Bildplatzhalter 6">
            <a:extLst>
              <a:ext uri="{FF2B5EF4-FFF2-40B4-BE49-F238E27FC236}">
                <a16:creationId xmlns:a16="http://schemas.microsoft.com/office/drawing/2014/main" id="{CFABEA7C-7103-4FAC-AAB1-B8FF0684867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680000" y="468000"/>
            <a:ext cx="3960000" cy="264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9CA26BD8-E4CD-4A9F-ACC0-895F1FD2744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0000" y="3240000"/>
            <a:ext cx="3960000" cy="1044000"/>
          </a:xfrm>
        </p:spPr>
        <p:txBody>
          <a:bodyPr/>
          <a:lstStyle>
            <a:lvl1pPr>
              <a:lnSpc>
                <a:spcPts val="1200"/>
              </a:lnSpc>
              <a:spcAft>
                <a:spcPts val="0"/>
              </a:spcAft>
              <a:defRPr sz="900"/>
            </a:lvl1pPr>
            <a:lvl2pPr>
              <a:lnSpc>
                <a:spcPts val="1200"/>
              </a:lnSpc>
              <a:spcAft>
                <a:spcPts val="0"/>
              </a:spcAft>
              <a:defRPr sz="900"/>
            </a:lvl2pPr>
            <a:lvl3pPr>
              <a:lnSpc>
                <a:spcPts val="1200"/>
              </a:lnSpc>
              <a:spcAft>
                <a:spcPts val="0"/>
              </a:spcAft>
              <a:defRPr sz="900"/>
            </a:lvl3pPr>
            <a:lvl4pPr>
              <a:lnSpc>
                <a:spcPts val="1200"/>
              </a:lnSpc>
              <a:spcAft>
                <a:spcPts val="0"/>
              </a:spcAft>
              <a:defRPr sz="900"/>
            </a:lvl4pPr>
            <a:lvl5pPr>
              <a:lnSpc>
                <a:spcPts val="1200"/>
              </a:lnSpc>
              <a:spcAft>
                <a:spcPts val="0"/>
              </a:spcAft>
              <a:defRPr sz="900"/>
            </a:lvl5pPr>
            <a:lvl6pPr>
              <a:lnSpc>
                <a:spcPts val="1200"/>
              </a:lnSpc>
              <a:spcAft>
                <a:spcPts val="0"/>
              </a:spcAft>
              <a:defRPr sz="900"/>
            </a:lvl6pPr>
            <a:lvl7pPr>
              <a:lnSpc>
                <a:spcPts val="1200"/>
              </a:lnSpc>
              <a:spcAft>
                <a:spcPts val="0"/>
              </a:spcAft>
              <a:defRPr sz="900"/>
            </a:lvl7pPr>
            <a:lvl8pPr>
              <a:lnSpc>
                <a:spcPts val="1200"/>
              </a:lnSpc>
              <a:spcAft>
                <a:spcPts val="0"/>
              </a:spcAft>
              <a:defRPr sz="900"/>
            </a:lvl8pPr>
            <a:lvl9pPr>
              <a:lnSpc>
                <a:spcPts val="1200"/>
              </a:lnSpc>
              <a:spcAft>
                <a:spcPts val="0"/>
              </a:spcAft>
              <a:defRPr sz="900"/>
            </a:lvl9pPr>
          </a:lstStyle>
          <a:p>
            <a:pPr lvl="0"/>
            <a:r>
              <a:rPr lang="de-DE" dirty="0"/>
              <a:t>Bildunterzeile </a:t>
            </a:r>
            <a:r>
              <a:rPr lang="de-DE" dirty="0" err="1"/>
              <a:t>Bildunterzeile</a:t>
            </a:r>
            <a:r>
              <a:rPr lang="de-DE" dirty="0"/>
              <a:t> // für weitere Ebenen (Text)  &gt;&gt; Menü &gt; Start &gt; Absatz &gt; Listenebene erhöhen</a:t>
            </a:r>
          </a:p>
          <a:p>
            <a:pPr lvl="1"/>
            <a:r>
              <a:rPr lang="de-DE" dirty="0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6226435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45" userDrawn="1">
          <p15:clr>
            <a:srgbClr val="FBAE40"/>
          </p15:clr>
        </p15:guide>
        <p15:guide id="2" pos="5443" userDrawn="1">
          <p15:clr>
            <a:srgbClr val="FBAE40"/>
          </p15:clr>
        </p15:guide>
        <p15:guide id="3" orient="horz" pos="291">
          <p15:clr>
            <a:srgbClr val="FBAE40"/>
          </p15:clr>
        </p15:guide>
        <p15:guide id="4" orient="horz" pos="1963" userDrawn="1">
          <p15:clr>
            <a:srgbClr val="FBAE40"/>
          </p15:clr>
        </p15:guide>
        <p15:guide id="5" pos="279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3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 userDrawn="1">
            <p:ph type="title"/>
          </p:nvPr>
        </p:nvSpPr>
        <p:spPr>
          <a:xfrm>
            <a:off x="468000" y="396000"/>
            <a:ext cx="7560000" cy="46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KAPITEL | CHART-HEADLINE</a:t>
            </a:r>
          </a:p>
        </p:txBody>
      </p:sp>
      <p:sp>
        <p:nvSpPr>
          <p:cNvPr id="3" name="Textplatzhalter 2"/>
          <p:cNvSpPr>
            <a:spLocks noGrp="1"/>
          </p:cNvSpPr>
          <p:nvPr userDrawn="1">
            <p:ph type="body" idx="1"/>
          </p:nvPr>
        </p:nvSpPr>
        <p:spPr>
          <a:xfrm>
            <a:off x="468000" y="918000"/>
            <a:ext cx="7560000" cy="336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dirty="0" err="1"/>
              <a:t>Subline</a:t>
            </a:r>
            <a:r>
              <a:rPr lang="de-DE" dirty="0"/>
              <a:t> auf erster Ebene // für weitere Ebenen (Text und Aufzählungen &gt;&gt; Menü &gt; Start &gt; Absatz &gt; Listenebene erhöh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4" name="Datumsplatzhalter 3"/>
          <p:cNvSpPr>
            <a:spLocks noGrp="1"/>
          </p:cNvSpPr>
          <p:nvPr userDrawn="1">
            <p:ph type="dt" sz="half" idx="2"/>
          </p:nvPr>
        </p:nvSpPr>
        <p:spPr>
          <a:xfrm>
            <a:off x="360000" y="5524114"/>
            <a:ext cx="4284008" cy="17998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aseline="0">
                <a:solidFill>
                  <a:schemeClr val="tx2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9pPr>
          </a:lstStyle>
          <a:p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3"/>
          </p:nvPr>
        </p:nvSpPr>
        <p:spPr>
          <a:xfrm>
            <a:off x="720000" y="4752000"/>
            <a:ext cx="6300000" cy="108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aseline="0">
                <a:solidFill>
                  <a:schemeClr val="tx2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9pPr>
          </a:lstStyle>
          <a:p>
            <a:r>
              <a:rPr lang="de-DE"/>
              <a:t>Allgemeine Masterberatung | masterberatung@sowi.rub.de                                    Fakultät für Sozialwissenschaft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4"/>
          </p:nvPr>
        </p:nvSpPr>
        <p:spPr>
          <a:xfrm>
            <a:off x="324000" y="4752000"/>
            <a:ext cx="252000" cy="108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aseline="0">
                <a:solidFill>
                  <a:schemeClr val="tx2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9pPr>
          </a:lstStyle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  <a:endParaRPr lang="de-DE" dirty="0"/>
          </a:p>
        </p:txBody>
      </p:sp>
      <p:grpSp>
        <p:nvGrpSpPr>
          <p:cNvPr id="31" name="Regieanweisungen"/>
          <p:cNvGrpSpPr/>
          <p:nvPr userDrawn="1"/>
        </p:nvGrpSpPr>
        <p:grpSpPr>
          <a:xfrm>
            <a:off x="-2088000" y="-468000"/>
            <a:ext cx="13284000" cy="6083999"/>
            <a:chOff x="-2088000" y="-468000"/>
            <a:chExt cx="13284000" cy="6083999"/>
          </a:xfrm>
        </p:grpSpPr>
        <p:grpSp>
          <p:nvGrpSpPr>
            <p:cNvPr id="29" name="Listenebenen"/>
            <p:cNvGrpSpPr/>
            <p:nvPr userDrawn="1"/>
          </p:nvGrpSpPr>
          <p:grpSpPr>
            <a:xfrm>
              <a:off x="-2088000" y="1368000"/>
              <a:ext cx="1980000" cy="2319874"/>
              <a:chOff x="-2088000" y="1368000"/>
              <a:chExt cx="1980000" cy="2319874"/>
            </a:xfrm>
          </p:grpSpPr>
          <p:sp>
            <p:nvSpPr>
              <p:cNvPr id="12" name="Text // Listenebene erhöhen"/>
              <p:cNvSpPr txBox="1"/>
              <p:nvPr userDrawn="1"/>
            </p:nvSpPr>
            <p:spPr>
              <a:xfrm>
                <a:off x="-2016000" y="2787874"/>
                <a:ext cx="936000" cy="396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9059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200" b="1" baseline="0" dirty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9059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200" b="1" baseline="0" dirty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13" name="Text // Listenebene verringern"/>
              <p:cNvSpPr txBox="1"/>
              <p:nvPr userDrawn="1"/>
            </p:nvSpPr>
            <p:spPr>
              <a:xfrm>
                <a:off x="-2016000" y="3291874"/>
                <a:ext cx="936000" cy="396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9059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200" b="1" baseline="0" dirty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9059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200" b="1" baseline="0" dirty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5" name="Listenebenen"/>
              <p:cNvSpPr txBox="1"/>
              <p:nvPr userDrawn="1"/>
            </p:nvSpPr>
            <p:spPr>
              <a:xfrm rot="10800000" flipH="1" flipV="1">
                <a:off x="-2088000" y="1368000"/>
                <a:ext cx="1980000" cy="8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9059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200" b="0" baseline="0" dirty="0">
                    <a:solidFill>
                      <a:schemeClr val="tx1"/>
                    </a:solidFill>
                    <a:latin typeface="+mn-lt"/>
                  </a:rPr>
                  <a:t>Listen erstellen</a:t>
                </a:r>
              </a:p>
              <a:p>
                <a:pPr marL="0" marR="0" lvl="0" indent="0" algn="r" defTabSz="9059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200" b="0" baseline="0" dirty="0">
                    <a:solidFill>
                      <a:schemeClr val="tx1"/>
                    </a:solidFill>
                    <a:latin typeface="+mn-lt"/>
                  </a:rPr>
                  <a:t>Wechseln Sie die Textebene</a:t>
                </a:r>
              </a:p>
              <a:p>
                <a:pPr marL="0" marR="0" lvl="0" indent="0" algn="r" defTabSz="9059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200" b="0" baseline="0" dirty="0">
                    <a:solidFill>
                      <a:schemeClr val="tx1"/>
                    </a:solidFill>
                    <a:latin typeface="+mn-lt"/>
                  </a:rPr>
                  <a:t>im Menü über: </a:t>
                </a:r>
                <a:br>
                  <a:rPr lang="de-DE" sz="1200" b="0" baseline="0" dirty="0">
                    <a:solidFill>
                      <a:schemeClr val="tx1"/>
                    </a:solidFill>
                    <a:latin typeface="+mn-lt"/>
                  </a:rPr>
                </a:br>
                <a:r>
                  <a:rPr lang="de-DE" sz="1200" b="1" baseline="0" dirty="0">
                    <a:solidFill>
                      <a:schemeClr val="tx1"/>
                    </a:solidFill>
                    <a:latin typeface="+mn-lt"/>
                  </a:rPr>
                  <a:t>Start &gt; Absatz &gt; Listenebene erhöhen/verringern</a:t>
                </a:r>
              </a:p>
            </p:txBody>
          </p:sp>
          <p:pic>
            <p:nvPicPr>
              <p:cNvPr id="27" name="Bild // Listenebene verringern"/>
              <p:cNvPicPr>
                <a:picLocks noChangeAspect="1"/>
              </p:cNvPicPr>
              <p:nvPr userDrawn="1"/>
            </p:nvPicPr>
            <p:blipFill>
              <a:blip r:embed="rId20"/>
              <a:stretch>
                <a:fillRect/>
              </a:stretch>
            </p:blipFill>
            <p:spPr>
              <a:xfrm>
                <a:off x="-963360" y="3291874"/>
                <a:ext cx="855360" cy="396000"/>
              </a:xfrm>
              <a:prstGeom prst="rect">
                <a:avLst/>
              </a:prstGeom>
            </p:spPr>
          </p:pic>
          <p:pic>
            <p:nvPicPr>
              <p:cNvPr id="28" name="Bild // Listenebene erhöhen"/>
              <p:cNvPicPr>
                <a:picLocks noChangeAspect="1"/>
              </p:cNvPicPr>
              <p:nvPr userDrawn="1"/>
            </p:nvPicPr>
            <p:blipFill>
              <a:blip r:embed="rId21"/>
              <a:stretch>
                <a:fillRect/>
              </a:stretch>
            </p:blipFill>
            <p:spPr>
              <a:xfrm>
                <a:off x="-963360" y="2787874"/>
                <a:ext cx="855360" cy="396000"/>
              </a:xfrm>
              <a:prstGeom prst="rect">
                <a:avLst/>
              </a:prstGeom>
            </p:spPr>
          </p:pic>
        </p:grpSp>
        <p:sp>
          <p:nvSpPr>
            <p:cNvPr id="14" name="Zurücksetzen"/>
            <p:cNvSpPr txBox="1"/>
            <p:nvPr userDrawn="1"/>
          </p:nvSpPr>
          <p:spPr>
            <a:xfrm rot="10800000" flipH="1" flipV="1">
              <a:off x="9252000" y="648000"/>
              <a:ext cx="1944000" cy="61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0" baseline="0" dirty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0" baseline="0" dirty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Start &gt; Folien &gt; Zurücksetzen</a:t>
              </a:r>
            </a:p>
          </p:txBody>
        </p:sp>
        <p:sp>
          <p:nvSpPr>
            <p:cNvPr id="15" name="Hilfslinien"/>
            <p:cNvSpPr txBox="1"/>
            <p:nvPr userDrawn="1"/>
          </p:nvSpPr>
          <p:spPr>
            <a:xfrm rot="10800000" flipH="1" flipV="1">
              <a:off x="431801" y="-468000"/>
              <a:ext cx="82804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3341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ü: </a:t>
              </a:r>
              <a:r>
                <a:rPr kumimoji="0" lang="de-DE" sz="12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Anzeigen &gt; Haken bei Führungslinien setzen</a:t>
              </a:r>
            </a:p>
          </p:txBody>
        </p:sp>
        <p:sp>
          <p:nvSpPr>
            <p:cNvPr id="16" name="Fußzeile"/>
            <p:cNvSpPr txBox="1"/>
            <p:nvPr userDrawn="1"/>
          </p:nvSpPr>
          <p:spPr>
            <a:xfrm rot="10800000" flipH="1" flipV="1">
              <a:off x="431800" y="5255998"/>
              <a:ext cx="8280400" cy="360001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3341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0" baseline="0" dirty="0">
                  <a:solidFill>
                    <a:schemeClr val="tx1"/>
                  </a:solidFill>
                  <a:latin typeface="+mn-lt"/>
                </a:rPr>
                <a:t>Fußzeile anpassen: </a:t>
              </a: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  <p:sp>
          <p:nvSpPr>
            <p:cNvPr id="30" name="Layoutwechsel"/>
            <p:cNvSpPr txBox="1"/>
            <p:nvPr userDrawn="1"/>
          </p:nvSpPr>
          <p:spPr>
            <a:xfrm rot="10800000" flipH="1" flipV="1">
              <a:off x="9252000" y="2283786"/>
              <a:ext cx="1944000" cy="61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0" baseline="0" dirty="0">
                  <a:solidFill>
                    <a:schemeClr val="tx1"/>
                  </a:solidFill>
                  <a:latin typeface="+mn-lt"/>
                </a:rPr>
                <a:t>Wechsel des Folienlayouts </a:t>
              </a:r>
              <a:br>
                <a:rPr lang="de-DE" sz="1200" b="0" baseline="0" dirty="0">
                  <a:solidFill>
                    <a:schemeClr val="tx1"/>
                  </a:solidFill>
                  <a:latin typeface="+mn-lt"/>
                </a:rPr>
              </a:br>
              <a:r>
                <a:rPr lang="de-DE" sz="1200" b="0" baseline="0" dirty="0">
                  <a:solidFill>
                    <a:schemeClr val="tx1"/>
                  </a:solidFill>
                  <a:latin typeface="+mn-lt"/>
                </a:rPr>
                <a:t>im Menü über:</a:t>
              </a:r>
            </a:p>
            <a:p>
              <a:pPr marL="0" marR="0" lvl="0" indent="0" algn="l" defTabSz="905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Start &gt; Folien &gt; Layout</a:t>
              </a:r>
            </a:p>
          </p:txBody>
        </p:sp>
      </p:grp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F61B1FA0-8233-4248-B899-BF9702E3E986}"/>
              </a:ext>
            </a:extLst>
          </p:cNvPr>
          <p:cNvCxnSpPr/>
          <p:nvPr userDrawn="1"/>
        </p:nvCxnSpPr>
        <p:spPr>
          <a:xfrm>
            <a:off x="0" y="4485600"/>
            <a:ext cx="914400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fik 7">
            <a:extLst>
              <a:ext uri="{FF2B5EF4-FFF2-40B4-BE49-F238E27FC236}">
                <a16:creationId xmlns:a16="http://schemas.microsoft.com/office/drawing/2014/main" id="{289C4D98-9606-4382-895C-2F9999CA3289}"/>
              </a:ext>
            </a:extLst>
          </p:cNvPr>
          <p:cNvPicPr>
            <a:picLocks noChangeAspect="1"/>
          </p:cNvPicPr>
          <p:nvPr userDrawn="1"/>
        </p:nvPicPr>
        <p:blipFill>
          <a:blip r:embed="rId22"/>
          <a:stretch>
            <a:fillRect/>
          </a:stretch>
        </p:blipFill>
        <p:spPr>
          <a:xfrm>
            <a:off x="7308000" y="4679640"/>
            <a:ext cx="1512000" cy="288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04192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57" r:id="rId3"/>
    <p:sldLayoutId id="2147483650" r:id="rId4"/>
    <p:sldLayoutId id="2147483667" r:id="rId5"/>
    <p:sldLayoutId id="2147483669" r:id="rId6"/>
    <p:sldLayoutId id="2147483658" r:id="rId7"/>
    <p:sldLayoutId id="2147483659" r:id="rId8"/>
    <p:sldLayoutId id="2147483660" r:id="rId9"/>
    <p:sldLayoutId id="2147483661" r:id="rId10"/>
    <p:sldLayoutId id="2147483663" r:id="rId11"/>
    <p:sldLayoutId id="2147483662" r:id="rId12"/>
    <p:sldLayoutId id="2147483664" r:id="rId13"/>
    <p:sldLayoutId id="2147483665" r:id="rId14"/>
    <p:sldLayoutId id="2147483666" r:id="rId15"/>
    <p:sldLayoutId id="2147483654" r:id="rId16"/>
    <p:sldLayoutId id="2147483655" r:id="rId17"/>
    <p:sldLayoutId id="2147483670" r:id="rId18"/>
  </p:sldLayoutIdLst>
  <p:hf hdr="0" dt="0"/>
  <p:txStyles>
    <p:titleStyle>
      <a:lvl1pPr marL="0" indent="0" algn="l" defTabSz="6858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2700" b="0" kern="1200" baseline="0">
          <a:solidFill>
            <a:schemeClr val="tx2"/>
          </a:solidFill>
          <a:latin typeface="+mn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ts val="1800"/>
        </a:lnSpc>
        <a:spcBef>
          <a:spcPts val="0"/>
        </a:spcBef>
        <a:spcAft>
          <a:spcPts val="1200"/>
        </a:spcAft>
        <a:buSzPct val="75000"/>
        <a:buFont typeface="Arial" panose="020B0604020202020204" pitchFamily="34" charset="0"/>
        <a:buNone/>
        <a:defRPr sz="1500" b="1" kern="1200" baseline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6858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SzPct val="75000"/>
        <a:buFont typeface="Arial" panose="020B0604020202020204" pitchFamily="34" charset="0"/>
        <a:buNone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2pPr>
      <a:lvl3pPr marL="234000" indent="-234000" algn="l" defTabSz="6858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Clr>
          <a:schemeClr val="bg2"/>
        </a:buClr>
        <a:buSzPct val="100000"/>
        <a:buFont typeface="Wingdings" panose="05000000000000000000" pitchFamily="2" charset="2"/>
        <a:buChar char="§"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468000" indent="-234000" algn="l" defTabSz="6858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Wingdings" panose="05000000000000000000" pitchFamily="2" charset="2"/>
        <a:buChar char="§"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4pPr>
      <a:lvl5pPr marL="702000" indent="-234000" algn="l" defTabSz="6858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Wingdings" panose="05000000000000000000" pitchFamily="2" charset="2"/>
        <a:buChar char="§"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5pPr>
      <a:lvl6pPr marL="0" indent="0" algn="l" defTabSz="6858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SzPct val="75000"/>
        <a:buFont typeface="Arial" panose="020B0604020202020204" pitchFamily="34" charset="0"/>
        <a:buNone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6858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SzPct val="75000"/>
        <a:buFont typeface="Arial" panose="020B0604020202020204" pitchFamily="34" charset="0"/>
        <a:buNone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6858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SzPct val="75000"/>
        <a:buFont typeface="Arial" panose="020B0604020202020204" pitchFamily="34" charset="0"/>
        <a:buNone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6858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SzPct val="75000"/>
        <a:buFont typeface="Arial" panose="020B0604020202020204" pitchFamily="34" charset="0"/>
        <a:buNone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92" userDrawn="1">
          <p15:clr>
            <a:srgbClr val="5ACBF0"/>
          </p15:clr>
        </p15:guide>
        <p15:guide id="2" pos="5059" userDrawn="1">
          <p15:clr>
            <a:srgbClr val="5ACBF0"/>
          </p15:clr>
        </p15:guide>
        <p15:guide id="3" orient="horz" pos="245" userDrawn="1">
          <p15:clr>
            <a:srgbClr val="5ACBF0"/>
          </p15:clr>
        </p15:guide>
        <p15:guide id="4" orient="horz" pos="2700" userDrawn="1">
          <p15:clr>
            <a:srgbClr val="5ACBF0"/>
          </p15:clr>
        </p15:guide>
        <p15:guide id="5" pos="5443" userDrawn="1">
          <p15:clr>
            <a:srgbClr val="5ACBF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9.jpg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platzhalter 8" descr="Ein Bild, das draußen, Gebäude, Wasser, groß enthält.&#10;&#10;Automatisch generierte Beschreibung">
            <a:extLst>
              <a:ext uri="{FF2B5EF4-FFF2-40B4-BE49-F238E27FC236}">
                <a16:creationId xmlns:a16="http://schemas.microsoft.com/office/drawing/2014/main" id="{9630A345-5842-47A2-BA27-F0F55B82C24C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334" b="2361"/>
          <a:stretch/>
        </p:blipFill>
        <p:spPr>
          <a:xfrm>
            <a:off x="-4834" y="-1"/>
            <a:ext cx="9148810" cy="5143501"/>
          </a:xfrm>
          <a:noFill/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71600" y="2472629"/>
            <a:ext cx="5904656" cy="747193"/>
          </a:xfrm>
        </p:spPr>
        <p:txBody>
          <a:bodyPr anchor="t">
            <a:normAutofit fontScale="90000"/>
          </a:bodyPr>
          <a:lstStyle/>
          <a:p>
            <a:r>
              <a:rPr lang="de-DE" sz="3300" dirty="0"/>
              <a:t>Tutorium zur VL. Sitzung (Teil 17) 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  <p:custDataLst>
              <p:tags r:id="rId2"/>
            </p:custDataLst>
          </p:nvPr>
        </p:nvSpPr>
        <p:spPr>
          <a:xfrm>
            <a:off x="1116013" y="3418563"/>
            <a:ext cx="5472112" cy="1152525"/>
          </a:xfrm>
        </p:spPr>
        <p:txBody>
          <a:bodyPr>
            <a:normAutofit/>
          </a:bodyPr>
          <a:lstStyle>
            <a:lvl1pPr marL="342900" indent="-342900" algn="l" defTabSz="914400" rtl="0" eaLnBrk="1" latinLnBrk="0" hangingPunct="1">
              <a:buClr>
                <a:schemeClr val="accent1"/>
              </a:buClr>
              <a:buFont typeface="Wingdings" panose="05000000000000000000" pitchFamily="2" charset="2"/>
              <a:buChar char="§"/>
            </a:lvl1pPr>
            <a:lvl2pPr marL="447675" indent="-285750" algn="l" defTabSz="914400" rtl="0" eaLnBrk="1" latinLnBrk="0" hangingPunct="1">
              <a:buClr>
                <a:schemeClr val="accent1"/>
              </a:buClr>
              <a:buFont typeface="Wingdings" panose="05000000000000000000" pitchFamily="2" charset="2"/>
              <a:buChar char="§"/>
            </a:lvl2pPr>
            <a:lvl3pPr marL="625475" indent="-228600" algn="l" defTabSz="914400" rtl="0" eaLnBrk="1" latinLnBrk="0" hangingPunct="1">
              <a:buClr>
                <a:schemeClr val="accent1"/>
              </a:buClr>
              <a:buFont typeface="Wingdings" panose="05000000000000000000" pitchFamily="2" charset="2"/>
              <a:buChar char="§"/>
            </a:lvl3pPr>
            <a:lvl4pPr marL="901700" indent="-228600" algn="l" defTabSz="914400" rtl="0" eaLnBrk="1" latinLnBrk="0" hangingPunct="1">
              <a:buClr>
                <a:schemeClr val="accent1"/>
              </a:buClr>
              <a:buFont typeface="Wingdings" panose="05000000000000000000" pitchFamily="2" charset="2"/>
              <a:buChar char="§"/>
            </a:lvl4pPr>
            <a:lvl5pPr marL="1165225" indent="-228600" algn="l" defTabSz="914400" rtl="0" eaLnBrk="1" latinLnBrk="0" hangingPunct="1">
              <a:buClr>
                <a:schemeClr val="accent1"/>
              </a:buClr>
              <a:buFont typeface="Wingdings" panose="05000000000000000000" pitchFamily="2" charset="2"/>
              <a:buChar char="§"/>
            </a:lvl5pPr>
            <a:lvl6pPr marL="2514600" indent="-228600" algn="l" defTabSz="914400" rtl="0" eaLnBrk="1" latinLnBrk="0" hangingPunct="1">
              <a:buFont typeface="Arial" panose="020B0604020202020204" pitchFamily="34" charset="0"/>
              <a:buChar char="•"/>
            </a:lvl6pPr>
            <a:lvl7pPr marL="2971800" indent="-228600" algn="l" defTabSz="914400" rtl="0" eaLnBrk="1" latinLnBrk="0" hangingPunct="1">
              <a:buFont typeface="Arial" panose="020B0604020202020204" pitchFamily="34" charset="0"/>
              <a:buChar char="•"/>
            </a:lvl7pPr>
            <a:lvl8pPr marL="3429000" indent="-228600" algn="l" defTabSz="914400" rtl="0" eaLnBrk="1" latinLnBrk="0" hangingPunct="1">
              <a:buFont typeface="Arial" panose="020B0604020202020204" pitchFamily="34" charset="0"/>
              <a:buChar char="•"/>
            </a:lvl8pPr>
            <a:lvl9pPr marL="3886200" indent="-228600" algn="l" defTabSz="914400" rtl="0" eaLnBrk="1" latinLnBrk="0" hangingPunct="1">
              <a:buFont typeface="Arial" panose="020B0604020202020204" pitchFamily="34" charset="0"/>
              <a:buChar char="•"/>
            </a:lvl9pPr>
          </a:lstStyle>
          <a:p>
            <a:pPr marL="0" indent="0">
              <a:lnSpc>
                <a:spcPct val="90000"/>
              </a:lnSpc>
              <a:buNone/>
            </a:pPr>
            <a:endParaRPr lang="de-DE" sz="1200" dirty="0"/>
          </a:p>
          <a:p>
            <a:pPr marL="0" indent="0">
              <a:lnSpc>
                <a:spcPct val="90000"/>
              </a:lnSpc>
              <a:buNone/>
            </a:pPr>
            <a:endParaRPr lang="de-DE" sz="1200" dirty="0"/>
          </a:p>
          <a:p>
            <a:pPr marL="0" indent="0">
              <a:lnSpc>
                <a:spcPct val="90000"/>
              </a:lnSpc>
              <a:buNone/>
            </a:pPr>
            <a:r>
              <a:rPr lang="de-DE" sz="2000" dirty="0"/>
              <a:t>Sozialstruktur und sozialer Wandel</a:t>
            </a:r>
            <a:endParaRPr lang="de-DE" sz="1200" dirty="0"/>
          </a:p>
          <a:p>
            <a:pPr marL="0" indent="0">
              <a:lnSpc>
                <a:spcPct val="90000"/>
              </a:lnSpc>
              <a:buNone/>
            </a:pPr>
            <a:endParaRPr lang="de-DE" sz="1200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8809833B-99C6-4DE4-8502-C3CF07774921}"/>
              </a:ext>
            </a:extLst>
          </p:cNvPr>
          <p:cNvSpPr/>
          <p:nvPr/>
        </p:nvSpPr>
        <p:spPr>
          <a:xfrm>
            <a:off x="110846" y="169835"/>
            <a:ext cx="374102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b="1" dirty="0">
                <a:solidFill>
                  <a:schemeClr val="tx2"/>
                </a:solidFill>
                <a:latin typeface="Calibri-Bold"/>
              </a:rPr>
              <a:t>FAKULTÄT FÜR SOZIALWISSENSCHAFT</a:t>
            </a:r>
            <a:endParaRPr lang="de-DE" dirty="0">
              <a:solidFill>
                <a:schemeClr val="tx2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517312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000" y="167826"/>
            <a:ext cx="7560000" cy="468000"/>
          </a:xfrm>
        </p:spPr>
        <p:txBody>
          <a:bodyPr/>
          <a:lstStyle/>
          <a:p>
            <a:r>
              <a:rPr lang="de-DE" dirty="0"/>
              <a:t>Arbeit: nach Geschlecht: Folg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0000" y="748688"/>
            <a:ext cx="8082439" cy="3890449"/>
          </a:xfrm>
        </p:spPr>
        <p:txBody>
          <a:bodyPr/>
          <a:lstStyle/>
          <a:p>
            <a:pPr>
              <a:lnSpc>
                <a:spcPct val="100000"/>
              </a:lnSpc>
              <a:spcAft>
                <a:spcPts val="800"/>
              </a:spcAft>
            </a:pPr>
            <a:r>
              <a:rPr lang="de-DE" sz="1700" b="0" dirty="0">
                <a:sym typeface="Wingdings" panose="05000000000000000000" pitchFamily="2" charset="2"/>
              </a:rPr>
              <a:t>Gender Pay Gap: </a:t>
            </a:r>
          </a:p>
          <a:p>
            <a:pPr marL="285750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700" b="0" dirty="0">
              <a:sym typeface="Wingdings" panose="05000000000000000000" pitchFamily="2" charset="2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10</a:t>
            </a:fld>
            <a:r>
              <a:rPr lang="de-DE"/>
              <a:t> </a:t>
            </a:r>
            <a:endParaRPr lang="de-DE" dirty="0"/>
          </a:p>
        </p:txBody>
      </p:sp>
      <p:pic>
        <p:nvPicPr>
          <p:cNvPr id="6" name="Inhaltsplatzhalter 6">
            <a:extLst>
              <a:ext uri="{FF2B5EF4-FFF2-40B4-BE49-F238E27FC236}">
                <a16:creationId xmlns:a16="http://schemas.microsoft.com/office/drawing/2014/main" id="{86E84BF8-84F4-E114-79A0-0CE249A78AD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08520" y="1165621"/>
            <a:ext cx="5976192" cy="3438998"/>
          </a:xfrm>
          <a:prstGeom prst="rect">
            <a:avLst/>
          </a:prstGeo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0B1D2354-D706-B271-A379-D464EE8E3DA1}"/>
              </a:ext>
            </a:extLst>
          </p:cNvPr>
          <p:cNvSpPr txBox="1"/>
          <p:nvPr/>
        </p:nvSpPr>
        <p:spPr>
          <a:xfrm>
            <a:off x="5796136" y="820154"/>
            <a:ext cx="3816424" cy="39318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800" dirty="0">
                <a:solidFill>
                  <a:schemeClr val="tx2"/>
                </a:solidFill>
              </a:rPr>
              <a:t>Trend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1" dirty="0">
                <a:solidFill>
                  <a:schemeClr val="tx2"/>
                </a:solidFill>
              </a:rPr>
              <a:t>4,37 € Brutto </a:t>
            </a:r>
            <a:r>
              <a:rPr lang="de-DE" sz="1800" dirty="0">
                <a:solidFill>
                  <a:schemeClr val="tx2"/>
                </a:solidFill>
              </a:rPr>
              <a:t>pro Stunden weniger</a:t>
            </a:r>
          </a:p>
          <a:p>
            <a:pPr marL="176850" lvl="1" indent="-285750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dirty="0">
                <a:solidFill>
                  <a:schemeClr val="tx2"/>
                </a:solidFill>
                <a:sym typeface="Wingdings" panose="05000000000000000000" pitchFamily="2" charset="2"/>
              </a:rPr>
              <a:t>Entwicklung: stetiger, aber     sehr langsamer Rückgang           Gap u</a:t>
            </a:r>
            <a:r>
              <a:rPr lang="de-DE" sz="1800" b="0" dirty="0">
                <a:solidFill>
                  <a:schemeClr val="tx2"/>
                </a:solidFill>
                <a:sym typeface="Wingdings" panose="05000000000000000000" pitchFamily="2" charset="2"/>
              </a:rPr>
              <a:t>nbereinigt bei </a:t>
            </a:r>
            <a:r>
              <a:rPr lang="de-DE" sz="1800" b="1" dirty="0">
                <a:solidFill>
                  <a:schemeClr val="tx2"/>
                </a:solidFill>
                <a:sym typeface="Wingdings" panose="05000000000000000000" pitchFamily="2" charset="2"/>
              </a:rPr>
              <a:t>20%</a:t>
            </a:r>
          </a:p>
          <a:p>
            <a:pPr marL="176850" lvl="1" indent="-285750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dirty="0">
                <a:solidFill>
                  <a:schemeClr val="tx2"/>
                </a:solidFill>
                <a:sym typeface="Wingdings" panose="05000000000000000000" pitchFamily="2" charset="2"/>
              </a:rPr>
              <a:t>Gründe: Teilzeit, unterschiedliche Tätigkeiten+ Bezahlung, Erwerbsunter-brechungen, Diskriminierung</a:t>
            </a:r>
          </a:p>
          <a:p>
            <a:pPr marL="176850" lvl="1" indent="-285750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dirty="0">
                <a:solidFill>
                  <a:schemeClr val="tx2"/>
                </a:solidFill>
                <a:sym typeface="Wingdings" panose="05000000000000000000" pitchFamily="2" charset="2"/>
              </a:rPr>
              <a:t>Rund </a:t>
            </a:r>
            <a:r>
              <a:rPr lang="de-DE" sz="1800" b="1" dirty="0">
                <a:solidFill>
                  <a:schemeClr val="tx2"/>
                </a:solidFill>
                <a:sym typeface="Wingdings" panose="05000000000000000000" pitchFamily="2" charset="2"/>
              </a:rPr>
              <a:t>2/3 strukturbedingte</a:t>
            </a:r>
            <a:r>
              <a:rPr lang="de-DE" sz="1800" dirty="0">
                <a:solidFill>
                  <a:schemeClr val="tx2"/>
                </a:solidFill>
                <a:sym typeface="Wingdings" panose="05000000000000000000" pitchFamily="2" charset="2"/>
              </a:rPr>
              <a:t>,    1/3 benachteiligte Faktor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03220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000" y="167826"/>
            <a:ext cx="7560000" cy="468000"/>
          </a:xfrm>
        </p:spPr>
        <p:txBody>
          <a:bodyPr/>
          <a:lstStyle/>
          <a:p>
            <a:r>
              <a:rPr lang="de-DE" dirty="0"/>
              <a:t>Arbeit: Arbeitslo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0000" y="640688"/>
            <a:ext cx="8082439" cy="3890449"/>
          </a:xfrm>
        </p:spPr>
        <p:txBody>
          <a:bodyPr/>
          <a:lstStyle/>
          <a:p>
            <a:pPr>
              <a:lnSpc>
                <a:spcPct val="100000"/>
              </a:lnSpc>
              <a:spcAft>
                <a:spcPts val="800"/>
              </a:spcAft>
            </a:pPr>
            <a:r>
              <a:rPr lang="de-DE" sz="1700" b="0" dirty="0">
                <a:solidFill>
                  <a:schemeClr val="accent2"/>
                </a:solidFill>
                <a:sym typeface="Wingdings" panose="05000000000000000000" pitchFamily="2" charset="2"/>
              </a:rPr>
              <a:t>Arbeitslos</a:t>
            </a:r>
            <a:r>
              <a:rPr lang="de-DE" sz="1700" b="0" dirty="0">
                <a:sym typeface="Wingdings" panose="05000000000000000000" pitchFamily="2" charset="2"/>
              </a:rPr>
              <a:t> meint:</a:t>
            </a:r>
          </a:p>
          <a:p>
            <a:pPr marL="285750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700" dirty="0">
                <a:sym typeface="Wingdings" panose="05000000000000000000" pitchFamily="2" charset="2"/>
              </a:rPr>
              <a:t>Weniger als 15 </a:t>
            </a:r>
            <a:r>
              <a:rPr lang="de-DE" sz="1700" dirty="0" err="1">
                <a:sym typeface="Wingdings" panose="05000000000000000000" pitchFamily="2" charset="2"/>
              </a:rPr>
              <a:t>Wochenstd</a:t>
            </a:r>
            <a:r>
              <a:rPr lang="de-DE" sz="1700" dirty="0">
                <a:sym typeface="Wingdings" panose="05000000000000000000" pitchFamily="2" charset="2"/>
              </a:rPr>
              <a:t>.</a:t>
            </a:r>
            <a:r>
              <a:rPr lang="de-DE" sz="1700" b="0" dirty="0">
                <a:sym typeface="Wingdings" panose="05000000000000000000" pitchFamily="2" charset="2"/>
              </a:rPr>
              <a:t> bezahlter Arbeit nachgehen &amp; arbeitslos gemeldet sind, also arbeitssuchend</a:t>
            </a:r>
          </a:p>
          <a:p>
            <a:pPr marL="285750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700" b="0" dirty="0">
                <a:sym typeface="Wingdings" panose="05000000000000000000" pitchFamily="2" charset="2"/>
              </a:rPr>
              <a:t>Unterliegt großer Fluktuation &amp; eher temporäres Phänomen</a:t>
            </a:r>
          </a:p>
          <a:p>
            <a:pPr marL="285750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700" b="0" dirty="0">
                <a:sym typeface="Wingdings" panose="05000000000000000000" pitchFamily="2" charset="2"/>
              </a:rPr>
              <a:t>Qualifikation als wichtigster Einflussfaktor</a:t>
            </a:r>
          </a:p>
          <a:p>
            <a:pPr>
              <a:lnSpc>
                <a:spcPct val="100000"/>
              </a:lnSpc>
              <a:spcAft>
                <a:spcPts val="800"/>
              </a:spcAft>
            </a:pPr>
            <a:r>
              <a:rPr lang="de-DE" sz="1700" b="0" dirty="0">
                <a:sym typeface="Wingdings" panose="05000000000000000000" pitchFamily="2" charset="2"/>
              </a:rPr>
              <a:t>Entwicklung:</a:t>
            </a:r>
          </a:p>
          <a:p>
            <a:pPr marL="285750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700" b="0" dirty="0">
                <a:sym typeface="Wingdings" panose="05000000000000000000" pitchFamily="2" charset="2"/>
              </a:rPr>
              <a:t> </a:t>
            </a:r>
            <a:r>
              <a:rPr lang="de-DE" sz="1700" dirty="0">
                <a:sym typeface="Wingdings" panose="05000000000000000000" pitchFamily="2" charset="2"/>
              </a:rPr>
              <a:t>Wenig Veränderungen </a:t>
            </a:r>
          </a:p>
          <a:p>
            <a:pPr marL="285750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700" b="0" dirty="0">
                <a:sym typeface="Wingdings" panose="05000000000000000000" pitchFamily="2" charset="2"/>
              </a:rPr>
              <a:t>Leichtes Absinken der Erwerbslosenpersonen</a:t>
            </a:r>
          </a:p>
          <a:p>
            <a:pPr marL="285750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700" b="0" dirty="0">
                <a:sym typeface="Wingdings" panose="05000000000000000000" pitchFamily="2" charset="2"/>
              </a:rPr>
              <a:t>Etwa 4% </a:t>
            </a:r>
          </a:p>
          <a:p>
            <a:pPr marL="285750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700" b="0" dirty="0">
              <a:sym typeface="Wingdings" panose="05000000000000000000" pitchFamily="2" charset="2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11</a:t>
            </a:fld>
            <a:r>
              <a:rPr lang="de-DE"/>
              <a:t> </a:t>
            </a:r>
            <a:endParaRPr lang="de-DE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69883DC1-D05E-C1BE-8CB0-D454236B09E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48064" y="2527061"/>
            <a:ext cx="4139804" cy="19670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75865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0515" y="671875"/>
            <a:ext cx="8659897" cy="4056384"/>
          </a:xfrm>
        </p:spPr>
        <p:txBody>
          <a:bodyPr/>
          <a:lstStyle/>
          <a:p>
            <a:pPr>
              <a:lnSpc>
                <a:spcPct val="100000"/>
              </a:lnSpc>
              <a:spcAft>
                <a:spcPts val="800"/>
              </a:spcAft>
            </a:pPr>
            <a:endParaRPr lang="de-DE" sz="1600" b="0" dirty="0">
              <a:sym typeface="Wingdings" panose="05000000000000000000" pitchFamily="2" charset="2"/>
            </a:endParaRPr>
          </a:p>
          <a:p>
            <a:pPr>
              <a:lnSpc>
                <a:spcPct val="100000"/>
              </a:lnSpc>
              <a:spcAft>
                <a:spcPts val="800"/>
              </a:spcAft>
            </a:pPr>
            <a:endParaRPr lang="de-DE" sz="1600" b="0" dirty="0">
              <a:sym typeface="Wingdings" panose="05000000000000000000" pitchFamily="2" charset="2"/>
            </a:endParaRPr>
          </a:p>
          <a:p>
            <a:pPr>
              <a:lnSpc>
                <a:spcPct val="100000"/>
              </a:lnSpc>
              <a:spcAft>
                <a:spcPts val="800"/>
              </a:spcAft>
            </a:pPr>
            <a:endParaRPr lang="de-DE" sz="1600" b="0" dirty="0">
              <a:sym typeface="Wingdings" panose="05000000000000000000" pitchFamily="2" charset="2"/>
            </a:endParaRPr>
          </a:p>
          <a:p>
            <a:pPr>
              <a:lnSpc>
                <a:spcPct val="100000"/>
              </a:lnSpc>
              <a:spcAft>
                <a:spcPts val="800"/>
              </a:spcAft>
            </a:pPr>
            <a:endParaRPr lang="de-DE" sz="1600" b="0" dirty="0">
              <a:sym typeface="Wingdings" panose="05000000000000000000" pitchFamily="2" charset="2"/>
            </a:endParaRPr>
          </a:p>
          <a:p>
            <a:pPr algn="ctr">
              <a:lnSpc>
                <a:spcPct val="100000"/>
              </a:lnSpc>
              <a:spcAft>
                <a:spcPts val="800"/>
              </a:spcAft>
            </a:pPr>
            <a:r>
              <a:rPr lang="de-DE" sz="2600" dirty="0">
                <a:solidFill>
                  <a:schemeClr val="accent2"/>
                </a:solidFill>
                <a:sym typeface="Wingdings" panose="05000000000000000000" pitchFamily="2" charset="2"/>
              </a:rPr>
              <a:t>Neue Phänomene auf dem Arbeitsmarkt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800" b="0" dirty="0">
              <a:sym typeface="Wingdings" panose="05000000000000000000" pitchFamily="2" charset="2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12</a:t>
            </a:fld>
            <a:r>
              <a:rPr lang="de-DE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9785453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000" y="167826"/>
            <a:ext cx="7938424" cy="468000"/>
          </a:xfrm>
        </p:spPr>
        <p:txBody>
          <a:bodyPr/>
          <a:lstStyle/>
          <a:p>
            <a:r>
              <a:rPr lang="de-DE" dirty="0"/>
              <a:t>Arbeit: neuere Phänomen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0515" y="671875"/>
            <a:ext cx="8659897" cy="4056384"/>
          </a:xfrm>
        </p:spPr>
        <p:txBody>
          <a:bodyPr/>
          <a:lstStyle/>
          <a:p>
            <a:pPr>
              <a:lnSpc>
                <a:spcPct val="100000"/>
              </a:lnSpc>
              <a:spcAft>
                <a:spcPts val="800"/>
              </a:spcAft>
            </a:pPr>
            <a:r>
              <a:rPr lang="de-DE" sz="1800" b="0" dirty="0">
                <a:solidFill>
                  <a:schemeClr val="accent2"/>
                </a:solidFill>
                <a:sym typeface="Wingdings" panose="05000000000000000000" pitchFamily="2" charset="2"/>
              </a:rPr>
              <a:t>1) Rückgang Normalarbeitsverhältnisse</a:t>
            </a:r>
          </a:p>
          <a:p>
            <a:pPr>
              <a:lnSpc>
                <a:spcPct val="100000"/>
              </a:lnSpc>
              <a:spcAft>
                <a:spcPts val="800"/>
              </a:spcAft>
            </a:pPr>
            <a:r>
              <a:rPr lang="de-DE" sz="1800" b="0" dirty="0">
                <a:highlight>
                  <a:srgbClr val="FFFF00"/>
                </a:highlight>
                <a:sym typeface="Wingdings" panose="05000000000000000000" pitchFamily="2" charset="2"/>
              </a:rPr>
              <a:t>DEF</a:t>
            </a:r>
            <a:r>
              <a:rPr lang="de-DE" sz="1800" b="0" dirty="0">
                <a:sym typeface="Wingdings" panose="05000000000000000000" pitchFamily="2" charset="2"/>
              </a:rPr>
              <a:t> = </a:t>
            </a:r>
            <a:r>
              <a:rPr lang="de-DE" sz="1800" dirty="0">
                <a:sym typeface="Wingdings" panose="05000000000000000000" pitchFamily="2" charset="2"/>
              </a:rPr>
              <a:t>abhängige, dauerhafte, unbefristete, sozial- und arbeitsvertraglich abgesicherte</a:t>
            </a:r>
            <a:r>
              <a:rPr lang="de-DE" sz="1800" b="0" dirty="0">
                <a:sym typeface="Wingdings" panose="05000000000000000000" pitchFamily="2" charset="2"/>
              </a:rPr>
              <a:t>, </a:t>
            </a:r>
            <a:r>
              <a:rPr lang="de-DE" sz="1800" dirty="0">
                <a:sym typeface="Wingdings" panose="05000000000000000000" pitchFamily="2" charset="2"/>
              </a:rPr>
              <a:t>existenzsichernde Erwerbstätigkeit </a:t>
            </a:r>
            <a:r>
              <a:rPr lang="de-DE" sz="1800" b="0" dirty="0">
                <a:sym typeface="Wingdings" panose="05000000000000000000" pitchFamily="2" charset="2"/>
              </a:rPr>
              <a:t>in Vollzeit oder in Teilzeit bei </a:t>
            </a:r>
            <a:r>
              <a:rPr lang="de-DE" sz="1800" dirty="0">
                <a:sym typeface="Wingdings" panose="05000000000000000000" pitchFamily="2" charset="2"/>
              </a:rPr>
              <a:t>über 20 h/Woche </a:t>
            </a:r>
          </a:p>
          <a:p>
            <a:pPr marL="285750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>
                <a:sym typeface="Wingdings" panose="05000000000000000000" pitchFamily="2" charset="2"/>
              </a:rPr>
              <a:t>Dient als wichtigste </a:t>
            </a:r>
            <a:r>
              <a:rPr lang="de-DE" sz="1800" dirty="0">
                <a:sym typeface="Wingdings" panose="05000000000000000000" pitchFamily="2" charset="2"/>
              </a:rPr>
              <a:t>Voraussetzung für Einkommenssicherung</a:t>
            </a:r>
          </a:p>
          <a:p>
            <a:pPr marL="285750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>
                <a:sym typeface="Wingdings" panose="05000000000000000000" pitchFamily="2" charset="2"/>
              </a:rPr>
              <a:t>Aktuell </a:t>
            </a:r>
            <a:r>
              <a:rPr lang="de-DE" sz="1800" dirty="0">
                <a:sym typeface="Wingdings" panose="05000000000000000000" pitchFamily="2" charset="2"/>
              </a:rPr>
              <a:t>2/3</a:t>
            </a:r>
            <a:r>
              <a:rPr lang="de-DE" sz="1800" b="0" dirty="0">
                <a:sym typeface="Wingdings" panose="05000000000000000000" pitchFamily="2" charset="2"/>
              </a:rPr>
              <a:t> der Beschäftigten</a:t>
            </a:r>
          </a:p>
          <a:p>
            <a:pPr>
              <a:lnSpc>
                <a:spcPct val="100000"/>
              </a:lnSpc>
              <a:spcAft>
                <a:spcPts val="800"/>
              </a:spcAft>
            </a:pPr>
            <a:r>
              <a:rPr lang="de-DE" sz="1800" b="0" dirty="0">
                <a:sym typeface="Wingdings" panose="05000000000000000000" pitchFamily="2" charset="2"/>
              </a:rPr>
              <a:t>Ursachen:</a:t>
            </a:r>
          </a:p>
          <a:p>
            <a:pPr marL="285750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600" b="0" dirty="0">
                <a:sym typeface="Wingdings" panose="05000000000000000000" pitchFamily="2" charset="2"/>
              </a:rPr>
              <a:t>Höhere Qualifikationsanforderungen</a:t>
            </a:r>
          </a:p>
          <a:p>
            <a:pPr marL="285750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600" b="0" dirty="0">
                <a:sym typeface="Wingdings" panose="05000000000000000000" pitchFamily="2" charset="2"/>
              </a:rPr>
              <a:t>Angespannte Arbeitsmarktlage (z.B. Corona)</a:t>
            </a:r>
          </a:p>
          <a:p>
            <a:pPr marL="285750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600" b="0" dirty="0">
                <a:sym typeface="Wingdings" panose="05000000000000000000" pitchFamily="2" charset="2"/>
              </a:rPr>
              <a:t>Schwächung kollektiver Interessensvertretung (z.B. Gorillas, Amazon)</a:t>
            </a:r>
          </a:p>
          <a:p>
            <a:pPr marL="285750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600" b="0" dirty="0">
                <a:sym typeface="Wingdings" panose="05000000000000000000" pitchFamily="2" charset="2"/>
              </a:rPr>
              <a:t>Pluralisierung der Beschäftigtenformen (u.a. geringfügige Beschäftigungen)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800" b="0" dirty="0">
              <a:sym typeface="Wingdings" panose="05000000000000000000" pitchFamily="2" charset="2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13</a:t>
            </a:fld>
            <a:r>
              <a:rPr lang="de-DE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576576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000" y="167826"/>
            <a:ext cx="7938424" cy="468000"/>
          </a:xfrm>
        </p:spPr>
        <p:txBody>
          <a:bodyPr/>
          <a:lstStyle/>
          <a:p>
            <a:r>
              <a:rPr lang="de-DE" dirty="0"/>
              <a:t>Arbeit: neuere Phänomen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0515" y="755770"/>
            <a:ext cx="8659897" cy="4056384"/>
          </a:xfrm>
        </p:spPr>
        <p:txBody>
          <a:bodyPr/>
          <a:lstStyle/>
          <a:p>
            <a:pPr>
              <a:lnSpc>
                <a:spcPct val="100000"/>
              </a:lnSpc>
              <a:spcAft>
                <a:spcPts val="800"/>
              </a:spcAft>
            </a:pPr>
            <a:r>
              <a:rPr lang="de-DE" sz="1800" b="0" dirty="0">
                <a:solidFill>
                  <a:schemeClr val="accent2"/>
                </a:solidFill>
                <a:sym typeface="Wingdings" panose="05000000000000000000" pitchFamily="2" charset="2"/>
              </a:rPr>
              <a:t>2) Bedeutungszuwachs von Atypischen Beschäftigungen</a:t>
            </a:r>
          </a:p>
          <a:p>
            <a:pPr>
              <a:lnSpc>
                <a:spcPct val="100000"/>
              </a:lnSpc>
              <a:spcAft>
                <a:spcPts val="800"/>
              </a:spcAft>
            </a:pPr>
            <a:r>
              <a:rPr lang="de-DE" sz="1800" b="0" dirty="0">
                <a:highlight>
                  <a:srgbClr val="FFFF00"/>
                </a:highlight>
                <a:sym typeface="Wingdings" panose="05000000000000000000" pitchFamily="2" charset="2"/>
              </a:rPr>
              <a:t>DEF</a:t>
            </a:r>
            <a:r>
              <a:rPr lang="de-DE" sz="1800" b="0" dirty="0">
                <a:sym typeface="Wingdings" panose="05000000000000000000" pitchFamily="2" charset="2"/>
              </a:rPr>
              <a:t> = </a:t>
            </a:r>
            <a:r>
              <a:rPr lang="de-DE" sz="1800" dirty="0">
                <a:sym typeface="Wingdings" panose="05000000000000000000" pitchFamily="2" charset="2"/>
              </a:rPr>
              <a:t>Abseits</a:t>
            </a:r>
            <a:r>
              <a:rPr lang="de-DE" sz="1800" b="0" dirty="0">
                <a:sym typeface="Wingdings" panose="05000000000000000000" pitchFamily="2" charset="2"/>
              </a:rPr>
              <a:t> des </a:t>
            </a:r>
            <a:r>
              <a:rPr lang="de-DE" sz="1800" dirty="0">
                <a:sym typeface="Wingdings" panose="05000000000000000000" pitchFamily="2" charset="2"/>
              </a:rPr>
              <a:t>Normalarbeitsverhältnisses</a:t>
            </a:r>
          </a:p>
          <a:p>
            <a:pPr>
              <a:lnSpc>
                <a:spcPct val="100000"/>
              </a:lnSpc>
              <a:spcAft>
                <a:spcPts val="800"/>
              </a:spcAft>
            </a:pPr>
            <a:r>
              <a:rPr lang="de-DE" sz="1800" b="0" dirty="0">
                <a:sym typeface="Wingdings" panose="05000000000000000000" pitchFamily="2" charset="2"/>
              </a:rPr>
              <a:t>Beispiele:</a:t>
            </a:r>
          </a:p>
          <a:p>
            <a:pPr marL="519750" lvl="2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>
                <a:sym typeface="Wingdings" panose="05000000000000000000" pitchFamily="2" charset="2"/>
              </a:rPr>
              <a:t>Teilzeitbeschäftigungen unter 20 h/ Woche</a:t>
            </a:r>
          </a:p>
          <a:p>
            <a:pPr marL="519750" lvl="2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>
                <a:sym typeface="Wingdings" panose="05000000000000000000" pitchFamily="2" charset="2"/>
              </a:rPr>
              <a:t>Geringfügige Beschäftigungen (u.a. 450 € Jobs)</a:t>
            </a:r>
          </a:p>
          <a:p>
            <a:pPr marL="519750" lvl="2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>
                <a:sym typeface="Wingdings" panose="05000000000000000000" pitchFamily="2" charset="2"/>
              </a:rPr>
              <a:t>Leiharbeit</a:t>
            </a:r>
          </a:p>
          <a:p>
            <a:pPr marL="519750" lvl="2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>
                <a:sym typeface="Wingdings" panose="05000000000000000000" pitchFamily="2" charset="2"/>
              </a:rPr>
              <a:t>Ein-Euro-Jobs …</a:t>
            </a:r>
          </a:p>
          <a:p>
            <a:pPr marL="285750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>
                <a:sym typeface="Wingdings" panose="05000000000000000000" pitchFamily="2" charset="2"/>
              </a:rPr>
              <a:t>Umfang: </a:t>
            </a:r>
            <a:r>
              <a:rPr lang="de-DE" sz="1800" dirty="0">
                <a:sym typeface="Wingdings" panose="05000000000000000000" pitchFamily="2" charset="2"/>
              </a:rPr>
              <a:t>20%</a:t>
            </a:r>
            <a:r>
              <a:rPr lang="de-DE" sz="1800" b="0" dirty="0">
                <a:sym typeface="Wingdings" panose="05000000000000000000" pitchFamily="2" charset="2"/>
              </a:rPr>
              <a:t> aller Beschäftigungsverhältnisse</a:t>
            </a:r>
          </a:p>
          <a:p>
            <a:pPr marL="285750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>
                <a:sym typeface="Wingdings" panose="05000000000000000000" pitchFamily="2" charset="2"/>
              </a:rPr>
              <a:t>Neueres Phänomen: </a:t>
            </a:r>
            <a:r>
              <a:rPr lang="de-DE" sz="1800" dirty="0">
                <a:sym typeface="Wingdings" panose="05000000000000000000" pitchFamily="2" charset="2"/>
              </a:rPr>
              <a:t>Schwarzarbeit</a:t>
            </a:r>
            <a:r>
              <a:rPr lang="de-DE" sz="1800" b="0" dirty="0">
                <a:sym typeface="Wingdings" panose="05000000000000000000" pitchFamily="2" charset="2"/>
              </a:rPr>
              <a:t> (= legal, aber unangemeldet, nur mündliche Vereinbarungen, oft ergänzend  etwa </a:t>
            </a:r>
            <a:r>
              <a:rPr lang="de-DE" sz="1800" dirty="0">
                <a:sym typeface="Wingdings" panose="05000000000000000000" pitchFamily="2" charset="2"/>
              </a:rPr>
              <a:t>5% des BIP</a:t>
            </a:r>
            <a:r>
              <a:rPr lang="de-DE" sz="1800" b="0" dirty="0">
                <a:sym typeface="Wingdings" panose="05000000000000000000" pitchFamily="2" charset="2"/>
              </a:rPr>
              <a:t>)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800" b="0" dirty="0">
              <a:sym typeface="Wingdings" panose="05000000000000000000" pitchFamily="2" charset="2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14</a:t>
            </a:fld>
            <a:r>
              <a:rPr lang="de-DE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512204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000" y="167826"/>
            <a:ext cx="7938424" cy="468000"/>
          </a:xfrm>
        </p:spPr>
        <p:txBody>
          <a:bodyPr/>
          <a:lstStyle/>
          <a:p>
            <a:r>
              <a:rPr lang="de-DE" dirty="0"/>
              <a:t>Arbeit: neuere Phänomen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0515" y="755770"/>
            <a:ext cx="8659897" cy="4056384"/>
          </a:xfrm>
        </p:spPr>
        <p:txBody>
          <a:bodyPr/>
          <a:lstStyle/>
          <a:p>
            <a:pPr>
              <a:lnSpc>
                <a:spcPct val="100000"/>
              </a:lnSpc>
              <a:spcAft>
                <a:spcPts val="800"/>
              </a:spcAft>
            </a:pPr>
            <a:r>
              <a:rPr lang="de-DE" sz="1800" b="0" dirty="0">
                <a:solidFill>
                  <a:schemeClr val="accent2"/>
                </a:solidFill>
                <a:sym typeface="Wingdings" panose="05000000000000000000" pitchFamily="2" charset="2"/>
              </a:rPr>
              <a:t>3) Erwerbsarmut</a:t>
            </a:r>
          </a:p>
          <a:p>
            <a:pPr marL="285750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>
                <a:sym typeface="Wingdings" panose="05000000000000000000" pitchFamily="2" charset="2"/>
              </a:rPr>
              <a:t>Armut trotz regelmäßiger Arbeit  Unterhalb </a:t>
            </a:r>
            <a:r>
              <a:rPr lang="de-DE" sz="1800" dirty="0">
                <a:sym typeface="Wingdings" panose="05000000000000000000" pitchFamily="2" charset="2"/>
              </a:rPr>
              <a:t>Armutsgrenzen</a:t>
            </a:r>
          </a:p>
          <a:p>
            <a:pPr marL="285750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>
                <a:sym typeface="Wingdings" panose="05000000000000000000" pitchFamily="2" charset="2"/>
              </a:rPr>
              <a:t>Umfasst 8% der Erwerbstätigen  Jeder 10</a:t>
            </a:r>
          </a:p>
          <a:p>
            <a:pPr marL="285750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>
                <a:sym typeface="Wingdings" panose="05000000000000000000" pitchFamily="2" charset="2"/>
              </a:rPr>
              <a:t>Hauptursache: </a:t>
            </a:r>
            <a:r>
              <a:rPr lang="de-DE" sz="1800" dirty="0">
                <a:sym typeface="Wingdings" panose="05000000000000000000" pitchFamily="2" charset="2"/>
              </a:rPr>
              <a:t>Niedriglohn</a:t>
            </a:r>
          </a:p>
          <a:p>
            <a:pPr marL="285750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>
                <a:sym typeface="Wingdings" panose="05000000000000000000" pitchFamily="2" charset="2"/>
              </a:rPr>
              <a:t>Hauptbetroffene: Risiko für: Einpersonenhaushalte, Alleinerziehende, </a:t>
            </a:r>
            <a:r>
              <a:rPr lang="de-DE" sz="1800" dirty="0">
                <a:sym typeface="Wingdings" panose="05000000000000000000" pitchFamily="2" charset="2"/>
              </a:rPr>
              <a:t>gering Qualifizierte, Migranten, Atypische Beschäftigung </a:t>
            </a:r>
          </a:p>
          <a:p>
            <a:pPr marL="285750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>
                <a:sym typeface="Wingdings" panose="05000000000000000000" pitchFamily="2" charset="2"/>
              </a:rPr>
              <a:t>Folgen: Ausgrenzungserfahrungen &amp; Stigmatisierung &amp; erhöhtes Gesundheitsrisiko (z.B. Schichtarbeit)</a:t>
            </a:r>
          </a:p>
          <a:p>
            <a:pPr marL="285750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800" b="0" dirty="0">
              <a:sym typeface="Wingdings" panose="05000000000000000000" pitchFamily="2" charset="2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15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BCB1B392-BD8D-0BC9-8E22-9A9D94F51B00}"/>
              </a:ext>
            </a:extLst>
          </p:cNvPr>
          <p:cNvSpPr/>
          <p:nvPr/>
        </p:nvSpPr>
        <p:spPr>
          <a:xfrm>
            <a:off x="5076056" y="597924"/>
            <a:ext cx="2547309" cy="31569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dirty="0"/>
              <a:t>“</a:t>
            </a:r>
            <a:r>
              <a:rPr lang="de-DE" sz="1600" dirty="0" err="1"/>
              <a:t>working</a:t>
            </a:r>
            <a:r>
              <a:rPr lang="de-DE" sz="1600" dirty="0"/>
              <a:t> </a:t>
            </a:r>
            <a:r>
              <a:rPr lang="de-DE" sz="1600" dirty="0" err="1"/>
              <a:t>poor</a:t>
            </a:r>
            <a:r>
              <a:rPr lang="de-DE" sz="1600" dirty="0"/>
              <a:t>“</a:t>
            </a:r>
          </a:p>
        </p:txBody>
      </p:sp>
    </p:spTree>
    <p:extLst>
      <p:ext uri="{BB962C8B-B14F-4D97-AF65-F5344CB8AC3E}">
        <p14:creationId xmlns:p14="http://schemas.microsoft.com/office/powerpoint/2010/main" val="34858013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000" y="167826"/>
            <a:ext cx="7938424" cy="468000"/>
          </a:xfrm>
        </p:spPr>
        <p:txBody>
          <a:bodyPr/>
          <a:lstStyle/>
          <a:p>
            <a:r>
              <a:rPr lang="de-DE" dirty="0"/>
              <a:t>Arbeit: neuere Phänomen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0516" y="755770"/>
            <a:ext cx="8613544" cy="4056384"/>
          </a:xfrm>
        </p:spPr>
        <p:txBody>
          <a:bodyPr/>
          <a:lstStyle/>
          <a:p>
            <a:pPr>
              <a:lnSpc>
                <a:spcPct val="100000"/>
              </a:lnSpc>
              <a:spcAft>
                <a:spcPts val="800"/>
              </a:spcAft>
            </a:pPr>
            <a:r>
              <a:rPr lang="de-DE" sz="1800" b="0" dirty="0">
                <a:solidFill>
                  <a:schemeClr val="accent2"/>
                </a:solidFill>
                <a:sym typeface="Wingdings" panose="05000000000000000000" pitchFamily="2" charset="2"/>
              </a:rPr>
              <a:t>4) Zustand von Prekarität</a:t>
            </a:r>
          </a:p>
          <a:p>
            <a:pPr>
              <a:lnSpc>
                <a:spcPct val="100000"/>
              </a:lnSpc>
              <a:spcAft>
                <a:spcPts val="800"/>
              </a:spcAft>
            </a:pPr>
            <a:r>
              <a:rPr lang="de-DE" sz="1800">
                <a:sym typeface="Wingdings" panose="05000000000000000000" pitchFamily="2" charset="2"/>
              </a:rPr>
              <a:t>= Arbeitsverhältnisse </a:t>
            </a:r>
            <a:r>
              <a:rPr lang="de-DE" sz="1800" dirty="0">
                <a:sym typeface="Wingdings" panose="05000000000000000000" pitchFamily="2" charset="2"/>
              </a:rPr>
              <a:t>ohne soziale Sicherung </a:t>
            </a:r>
            <a:r>
              <a:rPr lang="de-DE" sz="1800" b="0" dirty="0">
                <a:sym typeface="Wingdings" panose="05000000000000000000" pitchFamily="2" charset="2"/>
              </a:rPr>
              <a:t> schwierige soziale Lage</a:t>
            </a:r>
          </a:p>
          <a:p>
            <a:pPr marL="285750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>
                <a:sym typeface="Wingdings" panose="05000000000000000000" pitchFamily="2" charset="2"/>
              </a:rPr>
              <a:t>„Allgemeinen Erschütterung der Gesellschaft“ </a:t>
            </a:r>
            <a:r>
              <a:rPr lang="de-DE" sz="1600" b="0" dirty="0">
                <a:sym typeface="Wingdings" panose="05000000000000000000" pitchFamily="2" charset="2"/>
              </a:rPr>
              <a:t>[</a:t>
            </a:r>
            <a:r>
              <a:rPr lang="de-DE" sz="1400" b="0" strike="sngStrike" dirty="0">
                <a:sym typeface="Wingdings" panose="05000000000000000000" pitchFamily="2" charset="2"/>
              </a:rPr>
              <a:t>Erwerbsarbeit sichert soziale Sicherung]</a:t>
            </a:r>
          </a:p>
          <a:p>
            <a:pPr>
              <a:lnSpc>
                <a:spcPct val="100000"/>
              </a:lnSpc>
              <a:spcAft>
                <a:spcPts val="800"/>
              </a:spcAft>
            </a:pPr>
            <a:r>
              <a:rPr lang="de-DE" sz="1600" b="0" dirty="0">
                <a:sym typeface="Wingdings" panose="05000000000000000000" pitchFamily="2" charset="2"/>
              </a:rPr>
              <a:t>Beispiel: </a:t>
            </a:r>
            <a:r>
              <a:rPr lang="de-DE" sz="1600" b="0" dirty="0" err="1">
                <a:solidFill>
                  <a:schemeClr val="accent2"/>
                </a:solidFill>
                <a:sym typeface="Wingdings" panose="05000000000000000000" pitchFamily="2" charset="2"/>
              </a:rPr>
              <a:t>working</a:t>
            </a:r>
            <a:r>
              <a:rPr lang="de-DE" sz="1600" b="0" dirty="0">
                <a:solidFill>
                  <a:schemeClr val="accent2"/>
                </a:solidFill>
                <a:sym typeface="Wingdings" panose="05000000000000000000" pitchFamily="2" charset="2"/>
              </a:rPr>
              <a:t> </a:t>
            </a:r>
            <a:r>
              <a:rPr lang="de-DE" sz="1600" b="0" dirty="0" err="1">
                <a:solidFill>
                  <a:schemeClr val="accent2"/>
                </a:solidFill>
                <a:sym typeface="Wingdings" panose="05000000000000000000" pitchFamily="2" charset="2"/>
              </a:rPr>
              <a:t>poor</a:t>
            </a:r>
            <a:r>
              <a:rPr lang="de-DE" sz="1600" b="0" dirty="0">
                <a:solidFill>
                  <a:schemeClr val="accent2"/>
                </a:solidFill>
                <a:sym typeface="Wingdings" panose="05000000000000000000" pitchFamily="2" charset="2"/>
              </a:rPr>
              <a:t> </a:t>
            </a:r>
            <a:r>
              <a:rPr lang="de-DE" sz="1600" b="0" dirty="0">
                <a:sym typeface="Wingdings" panose="05000000000000000000" pitchFamily="2" charset="2"/>
              </a:rPr>
              <a:t>oder</a:t>
            </a:r>
            <a:r>
              <a:rPr lang="de-DE" sz="1600" b="0" dirty="0">
                <a:solidFill>
                  <a:schemeClr val="accent2"/>
                </a:solidFill>
                <a:sym typeface="Wingdings" panose="05000000000000000000" pitchFamily="2" charset="2"/>
              </a:rPr>
              <a:t> atypische Beschäftigung</a:t>
            </a:r>
          </a:p>
          <a:p>
            <a:pPr marL="285750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>
                <a:sym typeface="Wingdings" panose="05000000000000000000" pitchFamily="2" charset="2"/>
              </a:rPr>
              <a:t>Geht oft mit „</a:t>
            </a:r>
            <a:r>
              <a:rPr lang="de-DE" sz="1800" dirty="0" err="1">
                <a:sym typeface="Wingdings" panose="05000000000000000000" pitchFamily="2" charset="2"/>
              </a:rPr>
              <a:t>class</a:t>
            </a:r>
            <a:r>
              <a:rPr lang="de-DE" sz="1800" dirty="0">
                <a:sym typeface="Wingdings" panose="05000000000000000000" pitchFamily="2" charset="2"/>
              </a:rPr>
              <a:t>-in-</a:t>
            </a:r>
            <a:r>
              <a:rPr lang="de-DE" sz="1800" dirty="0" err="1">
                <a:sym typeface="Wingdings" panose="05000000000000000000" pitchFamily="2" charset="2"/>
              </a:rPr>
              <a:t>the</a:t>
            </a:r>
            <a:r>
              <a:rPr lang="de-DE" sz="1800" dirty="0">
                <a:sym typeface="Wingdings" panose="05000000000000000000" pitchFamily="2" charset="2"/>
              </a:rPr>
              <a:t>-</a:t>
            </a:r>
            <a:r>
              <a:rPr lang="de-DE" sz="1800" dirty="0" err="1">
                <a:sym typeface="Wingdings" panose="05000000000000000000" pitchFamily="2" charset="2"/>
              </a:rPr>
              <a:t>making</a:t>
            </a:r>
            <a:r>
              <a:rPr lang="de-DE" sz="1800" b="0" dirty="0">
                <a:sym typeface="Wingdings" panose="05000000000000000000" pitchFamily="2" charset="2"/>
              </a:rPr>
              <a:t>“ einher  soziale Milieus: Gemeinsamkeiten von Menschen mit sozialstrukturellen Merkmalen &amp; politischen Präferenzen (z.B. Populismus-Tendenzen)</a:t>
            </a:r>
          </a:p>
          <a:p>
            <a:pPr marL="285750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dirty="0">
                <a:sym typeface="Wingdings" panose="05000000000000000000" pitchFamily="2" charset="2"/>
              </a:rPr>
              <a:t>Objektive</a:t>
            </a:r>
            <a:r>
              <a:rPr lang="de-DE" sz="1800" b="0" dirty="0">
                <a:sym typeface="Wingdings" panose="05000000000000000000" pitchFamily="2" charset="2"/>
              </a:rPr>
              <a:t> (z.B. befristete Arbeitsvertrag) und </a:t>
            </a:r>
            <a:r>
              <a:rPr lang="de-DE" sz="1800" dirty="0">
                <a:sym typeface="Wingdings" panose="05000000000000000000" pitchFamily="2" charset="2"/>
              </a:rPr>
              <a:t>subjektive</a:t>
            </a:r>
            <a:r>
              <a:rPr lang="de-DE" sz="1800" b="0" dirty="0">
                <a:sym typeface="Wingdings" panose="05000000000000000000" pitchFamily="2" charset="2"/>
              </a:rPr>
              <a:t> (meint Gefühl der Unsicherheit) </a:t>
            </a:r>
            <a:r>
              <a:rPr lang="de-DE" sz="1800" dirty="0">
                <a:sym typeface="Wingdings" panose="05000000000000000000" pitchFamily="2" charset="2"/>
              </a:rPr>
              <a:t>prekäre Beschäftigungsverhältnisse </a:t>
            </a:r>
          </a:p>
          <a:p>
            <a:pPr marL="285750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800" b="0" dirty="0">
              <a:sym typeface="Wingdings" panose="05000000000000000000" pitchFamily="2" charset="2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16</a:t>
            </a:fld>
            <a:r>
              <a:rPr lang="de-DE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2046071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ernziele: elfte Sitzung 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1768" y="1131590"/>
            <a:ext cx="8388232" cy="3795982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 dirty="0"/>
              <a:t>Zentrale </a:t>
            </a:r>
            <a:r>
              <a:rPr lang="de-DE" sz="1800" dirty="0"/>
              <a:t>Begrifflichkeiten</a:t>
            </a:r>
            <a:r>
              <a:rPr lang="de-DE" sz="1800" b="0" dirty="0"/>
              <a:t> der Arbeitssoziologie definieren (z.B. </a:t>
            </a:r>
            <a:r>
              <a:rPr lang="de-DE" sz="1800" i="1" dirty="0"/>
              <a:t>Arbeit, Erwerbsarbeit, Hausarbeit, Sorgearbeit (Care) und Prekarisierung</a:t>
            </a:r>
            <a:r>
              <a:rPr lang="de-DE" sz="1800" b="0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dirty="0"/>
              <a:t>Grundzüge des Wandels </a:t>
            </a:r>
            <a:r>
              <a:rPr lang="de-DE" sz="1800" b="0" dirty="0"/>
              <a:t>von der </a:t>
            </a:r>
            <a:r>
              <a:rPr lang="de-DE" sz="1800" dirty="0"/>
              <a:t>Industrie- zur Dienstleistungsgesellschaft </a:t>
            </a:r>
            <a:r>
              <a:rPr lang="de-DE" sz="1800" b="0" dirty="0"/>
              <a:t>beschreiben könn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dirty="0"/>
              <a:t>'Feminisierung</a:t>
            </a:r>
            <a:r>
              <a:rPr lang="de-DE" sz="1800" b="0" dirty="0"/>
              <a:t>‘ der </a:t>
            </a:r>
            <a:r>
              <a:rPr lang="de-DE" sz="1800" dirty="0"/>
              <a:t>Erwerbsarbeit definieren </a:t>
            </a:r>
            <a:r>
              <a:rPr lang="de-DE" sz="1800" b="0" dirty="0"/>
              <a:t>und die </a:t>
            </a:r>
            <a:r>
              <a:rPr lang="de-DE" sz="1800" dirty="0"/>
              <a:t>Struktur</a:t>
            </a:r>
            <a:r>
              <a:rPr lang="de-DE" sz="1800" b="0" dirty="0"/>
              <a:t> der </a:t>
            </a:r>
            <a:r>
              <a:rPr lang="de-DE" sz="1800" dirty="0"/>
              <a:t>Geschlechterungleichheit auf </a:t>
            </a:r>
            <a:r>
              <a:rPr lang="de-DE" sz="1800" b="0" dirty="0"/>
              <a:t>dem</a:t>
            </a:r>
            <a:r>
              <a:rPr lang="de-DE" sz="1800" dirty="0"/>
              <a:t> Arbeitsmarkt </a:t>
            </a:r>
            <a:r>
              <a:rPr lang="de-DE" sz="1800" b="0" dirty="0"/>
              <a:t>erklär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dirty="0"/>
              <a:t>Neuere Phänomene </a:t>
            </a:r>
            <a:r>
              <a:rPr lang="de-DE" sz="1800" b="0" dirty="0"/>
              <a:t>auf dem Arbeitsmarkt </a:t>
            </a:r>
            <a:r>
              <a:rPr lang="de-DE" sz="1800" dirty="0"/>
              <a:t>jenseits</a:t>
            </a:r>
            <a:r>
              <a:rPr lang="de-DE" sz="1800" b="0" dirty="0"/>
              <a:t> der Beschäftigung in Form des </a:t>
            </a:r>
            <a:r>
              <a:rPr lang="de-DE" sz="1800" b="0" i="1" dirty="0"/>
              <a:t>Normalerwerbsverhältnisses</a:t>
            </a:r>
            <a:r>
              <a:rPr lang="de-DE" sz="1800" b="0" dirty="0"/>
              <a:t> erläutern (z.B. </a:t>
            </a:r>
            <a:r>
              <a:rPr lang="de-DE" sz="1800" i="1" dirty="0"/>
              <a:t>atypische Beschäftigung, </a:t>
            </a:r>
            <a:r>
              <a:rPr lang="de-DE" sz="1800" i="1" dirty="0" err="1"/>
              <a:t>woorking</a:t>
            </a:r>
            <a:r>
              <a:rPr lang="de-DE" sz="1800" i="1" dirty="0"/>
              <a:t> </a:t>
            </a:r>
            <a:r>
              <a:rPr lang="de-DE" sz="1800" i="1" dirty="0" err="1"/>
              <a:t>poor</a:t>
            </a:r>
            <a:r>
              <a:rPr lang="de-DE" sz="1800" i="1" dirty="0"/>
              <a:t>)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17</a:t>
            </a:fld>
            <a:r>
              <a:rPr lang="de-DE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0495670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sblick: nächste Sitzung 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000" y="918000"/>
            <a:ext cx="8280464" cy="3366000"/>
          </a:xfrm>
        </p:spPr>
        <p:txBody>
          <a:bodyPr/>
          <a:lstStyle/>
          <a:p>
            <a:pPr>
              <a:lnSpc>
                <a:spcPct val="100000"/>
              </a:lnSpc>
            </a:pPr>
            <a:endParaRPr lang="de-DE" sz="1800" b="0" strike="sngStrike" dirty="0">
              <a:sym typeface="Wingdings" panose="05000000000000000000" pitchFamily="2" charset="2"/>
            </a:endParaRPr>
          </a:p>
          <a:p>
            <a:pPr>
              <a:lnSpc>
                <a:spcPct val="200000"/>
              </a:lnSpc>
            </a:pPr>
            <a:endParaRPr lang="de-DE" sz="1800" b="0" dirty="0">
              <a:sym typeface="Wingdings" panose="05000000000000000000" pitchFamily="2" charset="2"/>
            </a:endParaRPr>
          </a:p>
          <a:p>
            <a:pPr marL="171450" indent="-171450">
              <a:lnSpc>
                <a:spcPct val="200000"/>
              </a:lnSpc>
              <a:buFont typeface="Arial" panose="020B0604020202020204" pitchFamily="34" charset="0"/>
              <a:buChar char="•"/>
            </a:pPr>
            <a:endParaRPr lang="de-DE" sz="1800" b="0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800" b="0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800" b="0" dirty="0"/>
          </a:p>
          <a:p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18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28CD78BF-FD21-4273-AC08-8CC747F9071D}"/>
              </a:ext>
            </a:extLst>
          </p:cNvPr>
          <p:cNvSpPr txBox="1"/>
          <p:nvPr/>
        </p:nvSpPr>
        <p:spPr>
          <a:xfrm>
            <a:off x="537190" y="1059582"/>
            <a:ext cx="7421619" cy="1287532"/>
          </a:xfrm>
          <a:prstGeom prst="rect">
            <a:avLst/>
          </a:prstGeom>
          <a:noFill/>
        </p:spPr>
        <p:txBody>
          <a:bodyPr wrap="square" numCol="1">
            <a:spAutoFit/>
          </a:bodyPr>
          <a:lstStyle/>
          <a:p>
            <a:pPr>
              <a:lnSpc>
                <a:spcPct val="150000"/>
              </a:lnSpc>
            </a:pPr>
            <a:r>
              <a:rPr lang="de-DE" sz="1800" dirty="0">
                <a:solidFill>
                  <a:schemeClr val="tx2"/>
                </a:solidFill>
              </a:rPr>
              <a:t>Was kommt…?</a:t>
            </a:r>
          </a:p>
          <a:p>
            <a:pPr>
              <a:lnSpc>
                <a:spcPct val="150000"/>
              </a:lnSpc>
            </a:pPr>
            <a:endParaRPr lang="de-DE" sz="1800" dirty="0">
              <a:solidFill>
                <a:schemeClr val="tx2"/>
              </a:solidFill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800" b="1" dirty="0">
                <a:solidFill>
                  <a:schemeClr val="tx2"/>
                </a:solidFill>
              </a:rPr>
              <a:t>Armut</a:t>
            </a:r>
          </a:p>
        </p:txBody>
      </p:sp>
    </p:spTree>
    <p:extLst>
      <p:ext uri="{BB962C8B-B14F-4D97-AF65-F5344CB8AC3E}">
        <p14:creationId xmlns:p14="http://schemas.microsoft.com/office/powerpoint/2010/main" val="245641367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738" y="121117"/>
            <a:ext cx="7560000" cy="468000"/>
          </a:xfrm>
        </p:spPr>
        <p:txBody>
          <a:bodyPr/>
          <a:lstStyle/>
          <a:p>
            <a:r>
              <a:rPr lang="de-DE" dirty="0"/>
              <a:t>Arbeit: Definitio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738" y="711030"/>
            <a:ext cx="8693999" cy="4311353"/>
          </a:xfrm>
        </p:spPr>
        <p:txBody>
          <a:bodyPr/>
          <a:lstStyle/>
          <a:p>
            <a:pPr>
              <a:lnSpc>
                <a:spcPct val="100000"/>
              </a:lnSpc>
              <a:spcAft>
                <a:spcPts val="800"/>
              </a:spcAft>
            </a:pPr>
            <a:r>
              <a:rPr lang="de-DE" sz="1800" b="0" dirty="0">
                <a:solidFill>
                  <a:schemeClr val="accent2"/>
                </a:solidFill>
              </a:rPr>
              <a:t>Arbeit</a:t>
            </a:r>
            <a:r>
              <a:rPr lang="de-DE" sz="1800" b="0" dirty="0"/>
              <a:t> </a:t>
            </a:r>
            <a:r>
              <a:rPr lang="de-DE" sz="1800" b="0" dirty="0">
                <a:highlight>
                  <a:srgbClr val="FFFF00"/>
                </a:highlight>
              </a:rPr>
              <a:t>DEF</a:t>
            </a:r>
            <a:r>
              <a:rPr lang="de-DE" sz="1800" b="0" dirty="0"/>
              <a:t>= bewusste</a:t>
            </a:r>
            <a:r>
              <a:rPr lang="de-DE" sz="1800" dirty="0"/>
              <a:t>, zweckmäßige Tätigkeit</a:t>
            </a:r>
            <a:r>
              <a:rPr lang="de-DE" sz="1800" b="0" dirty="0"/>
              <a:t>, mit der </a:t>
            </a:r>
            <a:r>
              <a:rPr lang="de-DE" sz="1800" dirty="0"/>
              <a:t>etwas erstellt </a:t>
            </a:r>
            <a:r>
              <a:rPr lang="de-DE" sz="1800" b="0" dirty="0"/>
              <a:t>wird […].</a:t>
            </a:r>
            <a:r>
              <a:rPr lang="de-DE" sz="1400" b="0" dirty="0"/>
              <a:t> </a:t>
            </a:r>
            <a:r>
              <a:rPr lang="de-DE" sz="1800" b="0" dirty="0"/>
              <a:t>Alle Tätigkeiten für </a:t>
            </a:r>
            <a:r>
              <a:rPr lang="de-DE" sz="1800" dirty="0"/>
              <a:t>eigenen oder fremden Unterhalt </a:t>
            </a:r>
            <a:r>
              <a:rPr lang="de-DE" sz="1800" b="0" dirty="0"/>
              <a:t>oder </a:t>
            </a:r>
            <a:r>
              <a:rPr lang="de-DE" sz="1800" dirty="0"/>
              <a:t>Erwerb</a:t>
            </a:r>
            <a:r>
              <a:rPr lang="de-DE" sz="1800" b="0" dirty="0"/>
              <a:t> oder für das </a:t>
            </a:r>
            <a:r>
              <a:rPr lang="de-DE" sz="1800" dirty="0"/>
              <a:t>Gemeinwesen</a:t>
            </a:r>
          </a:p>
          <a:p>
            <a:pPr>
              <a:lnSpc>
                <a:spcPct val="100000"/>
              </a:lnSpc>
              <a:spcAft>
                <a:spcPts val="800"/>
              </a:spcAft>
            </a:pPr>
            <a:endParaRPr lang="de-DE" sz="1800" dirty="0"/>
          </a:p>
          <a:p>
            <a:pPr>
              <a:lnSpc>
                <a:spcPct val="100000"/>
              </a:lnSpc>
              <a:spcAft>
                <a:spcPts val="800"/>
              </a:spcAft>
            </a:pPr>
            <a:r>
              <a:rPr lang="de-DE" sz="1800" b="0" dirty="0">
                <a:solidFill>
                  <a:schemeClr val="accent2"/>
                </a:solidFill>
              </a:rPr>
              <a:t>Erwerbsarbeit</a:t>
            </a:r>
            <a:r>
              <a:rPr lang="de-DE" sz="1800" b="0" dirty="0"/>
              <a:t> </a:t>
            </a:r>
            <a:r>
              <a:rPr lang="de-DE" sz="1800" b="0" dirty="0">
                <a:highlight>
                  <a:srgbClr val="FFFF00"/>
                </a:highlight>
              </a:rPr>
              <a:t>DEF</a:t>
            </a:r>
            <a:r>
              <a:rPr lang="de-DE" sz="1800" b="0" dirty="0"/>
              <a:t> = </a:t>
            </a:r>
            <a:r>
              <a:rPr lang="de-DE" sz="1800" dirty="0"/>
              <a:t>Herstellung</a:t>
            </a:r>
            <a:r>
              <a:rPr lang="de-DE" sz="1800" b="0" dirty="0"/>
              <a:t> von </a:t>
            </a:r>
            <a:r>
              <a:rPr lang="de-DE" sz="1800" dirty="0"/>
              <a:t>Gütern oder Leistungen </a:t>
            </a:r>
            <a:r>
              <a:rPr lang="de-DE" sz="1800" b="0" dirty="0"/>
              <a:t>mit dem </a:t>
            </a:r>
            <a:r>
              <a:rPr lang="de-DE" sz="1800" dirty="0"/>
              <a:t>Anspruch weitere Güter </a:t>
            </a:r>
            <a:r>
              <a:rPr lang="de-DE" sz="1800" b="0" dirty="0"/>
              <a:t>zu besitzen. Umfasst sowohl </a:t>
            </a:r>
            <a:r>
              <a:rPr lang="de-DE" sz="1800" dirty="0"/>
              <a:t>außerhäusliche</a:t>
            </a:r>
            <a:r>
              <a:rPr lang="de-DE" sz="1800" b="0" dirty="0"/>
              <a:t> Tätigkeiten &amp; </a:t>
            </a:r>
            <a:r>
              <a:rPr lang="de-DE" sz="1800" dirty="0"/>
              <a:t>selbständige Gewinnbringung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2</a:t>
            </a:fld>
            <a:r>
              <a:rPr lang="de-DE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415826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738" y="121117"/>
            <a:ext cx="7560000" cy="468000"/>
          </a:xfrm>
        </p:spPr>
        <p:txBody>
          <a:bodyPr/>
          <a:lstStyle/>
          <a:p>
            <a:r>
              <a:rPr lang="de-DE" dirty="0"/>
              <a:t>Arbeit: Definitio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738" y="711030"/>
            <a:ext cx="8693999" cy="4040970"/>
          </a:xfrm>
        </p:spPr>
        <p:txBody>
          <a:bodyPr/>
          <a:lstStyle/>
          <a:p>
            <a:pPr>
              <a:lnSpc>
                <a:spcPct val="100000"/>
              </a:lnSpc>
              <a:spcAft>
                <a:spcPts val="800"/>
              </a:spcAft>
            </a:pPr>
            <a:r>
              <a:rPr lang="de-DE" sz="1800" b="0" dirty="0">
                <a:solidFill>
                  <a:schemeClr val="accent2"/>
                </a:solidFill>
              </a:rPr>
              <a:t>Hausarbeit</a:t>
            </a:r>
            <a:r>
              <a:rPr lang="de-DE" sz="1800" b="0" dirty="0"/>
              <a:t> </a:t>
            </a:r>
            <a:r>
              <a:rPr lang="de-DE" sz="1800" b="0" dirty="0">
                <a:highlight>
                  <a:srgbClr val="FFFF00"/>
                </a:highlight>
              </a:rPr>
              <a:t>DEF</a:t>
            </a:r>
            <a:r>
              <a:rPr lang="de-DE" sz="1800" b="0" dirty="0"/>
              <a:t>= 1) Arbeit im </a:t>
            </a:r>
            <a:r>
              <a:rPr lang="de-DE" sz="1800" dirty="0"/>
              <a:t>Innenbereich </a:t>
            </a:r>
            <a:r>
              <a:rPr lang="de-DE" sz="1800" b="0" dirty="0"/>
              <a:t>eines </a:t>
            </a:r>
            <a:r>
              <a:rPr lang="de-DE" sz="1800" dirty="0"/>
              <a:t>Haushaltes</a:t>
            </a:r>
            <a:r>
              <a:rPr lang="de-DE" sz="1800" b="0" dirty="0"/>
              <a:t>, zum </a:t>
            </a:r>
            <a:r>
              <a:rPr lang="de-DE" sz="1800" dirty="0"/>
              <a:t>Überleben des Haushaltsverbandes</a:t>
            </a:r>
            <a:r>
              <a:rPr lang="de-DE" sz="1800" b="0" dirty="0"/>
              <a:t> &amp; seiner Mitglieder, übt Einfluss auf das Zeitbudget der Mitglieder &amp; dient als </a:t>
            </a:r>
            <a:r>
              <a:rPr lang="de-DE" sz="1800" dirty="0"/>
              <a:t>Gegenbild zur Lohnarbeit</a:t>
            </a:r>
          </a:p>
          <a:p>
            <a:pPr>
              <a:lnSpc>
                <a:spcPct val="100000"/>
              </a:lnSpc>
              <a:spcAft>
                <a:spcPts val="800"/>
              </a:spcAft>
            </a:pPr>
            <a:r>
              <a:rPr lang="de-DE" sz="1800" b="0" dirty="0"/>
              <a:t>2) </a:t>
            </a:r>
            <a:r>
              <a:rPr lang="de-DE" sz="1800" dirty="0" err="1"/>
              <a:t>unentlohnte</a:t>
            </a:r>
            <a:r>
              <a:rPr lang="de-DE" sz="1800" dirty="0"/>
              <a:t> Arbeit</a:t>
            </a:r>
            <a:r>
              <a:rPr lang="de-DE" sz="1800" b="0" dirty="0"/>
              <a:t>, die </a:t>
            </a:r>
            <a:r>
              <a:rPr lang="de-DE" sz="1800" dirty="0"/>
              <a:t>Frauen</a:t>
            </a:r>
            <a:r>
              <a:rPr lang="de-DE" sz="1800" b="0" dirty="0"/>
              <a:t> zugewiesen wird und ihre Tätigkeiten außerhäuslich beschränken</a:t>
            </a:r>
          </a:p>
          <a:p>
            <a:pPr>
              <a:lnSpc>
                <a:spcPct val="100000"/>
              </a:lnSpc>
              <a:spcAft>
                <a:spcPts val="800"/>
              </a:spcAft>
            </a:pPr>
            <a:endParaRPr lang="de-DE" sz="1800" b="0" dirty="0"/>
          </a:p>
          <a:p>
            <a:pPr>
              <a:lnSpc>
                <a:spcPct val="100000"/>
              </a:lnSpc>
              <a:spcAft>
                <a:spcPts val="800"/>
              </a:spcAft>
            </a:pPr>
            <a:r>
              <a:rPr lang="de-DE" sz="1800" b="0" dirty="0">
                <a:solidFill>
                  <a:schemeClr val="accent2"/>
                </a:solidFill>
              </a:rPr>
              <a:t>Care-Arbeit</a:t>
            </a:r>
            <a:r>
              <a:rPr lang="de-DE" sz="1800" b="0" dirty="0"/>
              <a:t> </a:t>
            </a:r>
            <a:r>
              <a:rPr lang="de-DE" sz="1800" b="0" dirty="0">
                <a:highlight>
                  <a:srgbClr val="FFFF00"/>
                </a:highlight>
              </a:rPr>
              <a:t>DEF</a:t>
            </a:r>
            <a:r>
              <a:rPr lang="de-DE" sz="1800" b="0" dirty="0"/>
              <a:t>= Unbezahlte &amp; bezahlte Tätigkeiten zur </a:t>
            </a:r>
            <a:r>
              <a:rPr lang="de-DE" sz="1800" dirty="0"/>
              <a:t>Fürsorge</a:t>
            </a:r>
            <a:r>
              <a:rPr lang="de-DE" sz="1800" b="0" dirty="0"/>
              <a:t> </a:t>
            </a:r>
            <a:r>
              <a:rPr lang="de-DE" sz="1800" dirty="0"/>
              <a:t>&amp;</a:t>
            </a:r>
            <a:r>
              <a:rPr lang="de-DE" sz="1800" b="0" dirty="0"/>
              <a:t> </a:t>
            </a:r>
            <a:r>
              <a:rPr lang="de-DE" sz="1800" dirty="0"/>
              <a:t>Pflege</a:t>
            </a:r>
            <a:r>
              <a:rPr lang="de-DE" sz="1800" b="0" dirty="0"/>
              <a:t> von Kindern, älteren, behinderten &amp; kranken Menschen […] </a:t>
            </a:r>
            <a:r>
              <a:rPr lang="de-DE" sz="1800" dirty="0"/>
              <a:t>weiblich konnotiert &amp; privaten Bereich </a:t>
            </a:r>
            <a:r>
              <a:rPr lang="de-DE" sz="1800" b="0" dirty="0"/>
              <a:t>zugeordnet</a:t>
            </a:r>
          </a:p>
          <a:p>
            <a:pPr>
              <a:lnSpc>
                <a:spcPct val="100000"/>
              </a:lnSpc>
              <a:spcAft>
                <a:spcPts val="800"/>
              </a:spcAft>
            </a:pPr>
            <a:endParaRPr lang="de-DE" sz="1800" b="0" dirty="0"/>
          </a:p>
          <a:p>
            <a:pPr>
              <a:lnSpc>
                <a:spcPct val="100000"/>
              </a:lnSpc>
              <a:spcAft>
                <a:spcPts val="800"/>
              </a:spcAft>
            </a:pPr>
            <a:r>
              <a:rPr lang="de-DE" sz="1800" b="0" dirty="0">
                <a:sym typeface="Wingdings" panose="05000000000000000000" pitchFamily="2" charset="2"/>
              </a:rPr>
              <a:t></a:t>
            </a:r>
            <a:r>
              <a:rPr lang="de-DE" sz="1800" b="0" dirty="0"/>
              <a:t>Kritik an </a:t>
            </a:r>
            <a:r>
              <a:rPr lang="de-DE" sz="1800" dirty="0"/>
              <a:t>‚Reproduktionsarbeit‘ </a:t>
            </a:r>
            <a:r>
              <a:rPr lang="de-DE" sz="1800" b="0" dirty="0">
                <a:sym typeface="Wingdings" panose="05000000000000000000" pitchFamily="2" charset="2"/>
              </a:rPr>
              <a:t>(drängt Frauen vom Arbeitsmarkt &amp; schlechte Arbeitsbedingungen für Migrantinnen)</a:t>
            </a:r>
            <a:endParaRPr lang="de-DE" sz="1800" b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3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4E268C44-5A73-DFBE-5B46-F577F15BE2AD}"/>
              </a:ext>
            </a:extLst>
          </p:cNvPr>
          <p:cNvSpPr/>
          <p:nvPr/>
        </p:nvSpPr>
        <p:spPr>
          <a:xfrm>
            <a:off x="3635896" y="2267180"/>
            <a:ext cx="1584176" cy="288032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Unterschied?</a:t>
            </a:r>
          </a:p>
        </p:txBody>
      </p:sp>
    </p:spTree>
    <p:extLst>
      <p:ext uri="{BB962C8B-B14F-4D97-AF65-F5344CB8AC3E}">
        <p14:creationId xmlns:p14="http://schemas.microsoft.com/office/powerpoint/2010/main" val="30229985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738" y="121117"/>
            <a:ext cx="7560000" cy="468000"/>
          </a:xfrm>
        </p:spPr>
        <p:txBody>
          <a:bodyPr/>
          <a:lstStyle/>
          <a:p>
            <a:r>
              <a:rPr lang="de-DE" dirty="0"/>
              <a:t>Arbeit: Bedeutun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0000" y="877768"/>
            <a:ext cx="8298464" cy="3613248"/>
          </a:xfrm>
        </p:spPr>
        <p:txBody>
          <a:bodyPr/>
          <a:lstStyle/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/>
              <a:t>Arbeit als </a:t>
            </a:r>
            <a:r>
              <a:rPr lang="de-DE" sz="1800" dirty="0"/>
              <a:t>zentraler Platz 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/>
              <a:t>+ Als Möglichkeit der </a:t>
            </a:r>
            <a:r>
              <a:rPr lang="de-DE" sz="1800" dirty="0"/>
              <a:t>Selbstverwirklichung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/>
              <a:t>+ Als </a:t>
            </a:r>
            <a:r>
              <a:rPr lang="de-DE" sz="1800" dirty="0"/>
              <a:t>Resultat</a:t>
            </a:r>
            <a:r>
              <a:rPr lang="de-DE" sz="1800" b="0" dirty="0"/>
              <a:t> unserer </a:t>
            </a:r>
            <a:r>
              <a:rPr lang="de-DE" sz="1800" dirty="0"/>
              <a:t>Bildungsbestrebungen</a:t>
            </a:r>
            <a:r>
              <a:rPr lang="de-DE" sz="1800" b="0" dirty="0"/>
              <a:t> 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>
                <a:sym typeface="Wingdings" panose="05000000000000000000" pitchFamily="2" charset="2"/>
              </a:rPr>
              <a:t>                Bestimmt oft Stellung, Einkommenschancen, Rente &amp; Selbstwertgefühl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Tx/>
              <a:buChar char="-"/>
            </a:pPr>
            <a:r>
              <a:rPr lang="de-DE" sz="1800" b="0" dirty="0">
                <a:sym typeface="Wingdings" panose="05000000000000000000" pitchFamily="2" charset="2"/>
              </a:rPr>
              <a:t>Möglich auch physische &amp; psychische Belastungen 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Tx/>
              <a:buChar char="-"/>
            </a:pPr>
            <a:endParaRPr lang="de-DE" sz="1800" b="0" dirty="0">
              <a:sym typeface="Wingdings" panose="05000000000000000000" pitchFamily="2" charset="2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>
                <a:sym typeface="Wingdings" panose="05000000000000000000" pitchFamily="2" charset="2"/>
              </a:rPr>
              <a:t>              „Arbeit als entscheidender Einfluss der </a:t>
            </a:r>
            <a:r>
              <a:rPr lang="de-DE" sz="1800" dirty="0">
                <a:sym typeface="Wingdings" panose="05000000000000000000" pitchFamily="2" charset="2"/>
              </a:rPr>
              <a:t>Identitätsbildung“</a:t>
            </a:r>
            <a:endParaRPr lang="de-DE" sz="140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4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6" name="Pfeil: nach rechts 5">
            <a:extLst>
              <a:ext uri="{FF2B5EF4-FFF2-40B4-BE49-F238E27FC236}">
                <a16:creationId xmlns:a16="http://schemas.microsoft.com/office/drawing/2014/main" id="{8B959DBA-B667-FEF8-46BB-34E7DD3930C8}"/>
              </a:ext>
            </a:extLst>
          </p:cNvPr>
          <p:cNvSpPr/>
          <p:nvPr/>
        </p:nvSpPr>
        <p:spPr>
          <a:xfrm>
            <a:off x="468738" y="1923678"/>
            <a:ext cx="936104" cy="468000"/>
          </a:xfrm>
          <a:prstGeom prst="right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6505170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000" y="167826"/>
            <a:ext cx="7560000" cy="468000"/>
          </a:xfrm>
        </p:spPr>
        <p:txBody>
          <a:bodyPr/>
          <a:lstStyle/>
          <a:p>
            <a:r>
              <a:rPr lang="de-DE" dirty="0"/>
              <a:t>Arbeit: Wandel in Arbeitsgesellschaf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0000" y="635826"/>
            <a:ext cx="8659897" cy="1932687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700" b="0" dirty="0"/>
              <a:t>Kennzeichen seit 19 Jhd.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700" b="0" dirty="0">
                <a:sym typeface="Wingdings" panose="05000000000000000000" pitchFamily="2" charset="2"/>
              </a:rPr>
              <a:t>Prinzip des zweckrationalen Handelns</a:t>
            </a:r>
            <a:r>
              <a:rPr lang="de-DE" sz="1700" dirty="0">
                <a:sym typeface="Wingdings" panose="05000000000000000000" pitchFamily="2" charset="2"/>
              </a:rPr>
              <a:t> (Zweck-Mittel)</a:t>
            </a:r>
            <a:endParaRPr lang="de-DE" sz="1700" b="0" dirty="0">
              <a:sym typeface="Wingdings" panose="05000000000000000000" pitchFamily="2" charset="2"/>
            </a:endParaRP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700" b="0" dirty="0">
                <a:sym typeface="Wingdings" panose="05000000000000000000" pitchFamily="2" charset="2"/>
              </a:rPr>
              <a:t>Zentrales gesellschaftliches </a:t>
            </a:r>
            <a:r>
              <a:rPr lang="de-DE" sz="1700" dirty="0">
                <a:sym typeface="Wingdings" panose="05000000000000000000" pitchFamily="2" charset="2"/>
              </a:rPr>
              <a:t>Organisationsprinzip</a:t>
            </a:r>
            <a:r>
              <a:rPr lang="de-DE" sz="1700" b="0" dirty="0">
                <a:sym typeface="Wingdings" panose="05000000000000000000" pitchFamily="2" charset="2"/>
              </a:rPr>
              <a:t> (bestimmt Lebenslauf)</a:t>
            </a:r>
          </a:p>
          <a:p>
            <a:pPr marL="285750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700" b="0" dirty="0">
                <a:sym typeface="Wingdings" panose="05000000000000000000" pitchFamily="2" charset="2"/>
              </a:rPr>
              <a:t>Formen sozialer Ungleichheit sind Marktvermittelt </a:t>
            </a:r>
          </a:p>
          <a:p>
            <a:pPr marL="285750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700" dirty="0">
                <a:sym typeface="Wingdings" panose="05000000000000000000" pitchFamily="2" charset="2"/>
              </a:rPr>
              <a:t>Zwei</a:t>
            </a:r>
            <a:r>
              <a:rPr lang="de-DE" sz="1700" b="0" dirty="0">
                <a:sym typeface="Wingdings" panose="05000000000000000000" pitchFamily="2" charset="2"/>
              </a:rPr>
              <a:t> gesell. </a:t>
            </a:r>
            <a:r>
              <a:rPr lang="de-DE" sz="1700" dirty="0">
                <a:sym typeface="Wingdings" panose="05000000000000000000" pitchFamily="2" charset="2"/>
              </a:rPr>
              <a:t>Sphären</a:t>
            </a:r>
            <a:r>
              <a:rPr lang="de-DE" sz="1700" b="0" dirty="0">
                <a:sym typeface="Wingdings" panose="05000000000000000000" pitchFamily="2" charset="2"/>
              </a:rPr>
              <a:t> (Öffentlichkeit vs. Privatheit)  Geschlechtsspezifische Arbeitsteilung (männliche Erwerbsarbeit / weibliche Haus- Sorgearbeit</a:t>
            </a:r>
          </a:p>
          <a:p>
            <a:pPr>
              <a:lnSpc>
                <a:spcPct val="100000"/>
              </a:lnSpc>
              <a:spcAft>
                <a:spcPts val="800"/>
              </a:spcAft>
            </a:pPr>
            <a:r>
              <a:rPr lang="de-DE" sz="1600" b="0" dirty="0">
                <a:sym typeface="Wingdings" panose="05000000000000000000" pitchFamily="2" charset="2"/>
              </a:rPr>
              <a:t>Zwei Gesellschaftstypen:</a:t>
            </a:r>
            <a:endParaRPr lang="de-DE" sz="1700" b="0" dirty="0">
              <a:sym typeface="Wingdings" panose="05000000000000000000" pitchFamily="2" charset="2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5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B28D3467-1844-A27B-EDC3-59418ADBBBE0}"/>
              </a:ext>
            </a:extLst>
          </p:cNvPr>
          <p:cNvSpPr txBox="1"/>
          <p:nvPr/>
        </p:nvSpPr>
        <p:spPr>
          <a:xfrm>
            <a:off x="442287" y="2973299"/>
            <a:ext cx="8533897" cy="1941685"/>
          </a:xfrm>
          <a:prstGeom prst="rect">
            <a:avLst/>
          </a:prstGeom>
          <a:noFill/>
        </p:spPr>
        <p:txBody>
          <a:bodyPr wrap="square" numCol="2" rtlCol="0">
            <a:spAutoFit/>
          </a:bodyPr>
          <a:lstStyle/>
          <a:p>
            <a:pPr marL="342900" indent="-342900">
              <a:lnSpc>
                <a:spcPct val="107000"/>
              </a:lnSpc>
              <a:spcAft>
                <a:spcPts val="800"/>
              </a:spcAft>
              <a:buAutoNum type="arabicParenR"/>
            </a:pPr>
            <a:r>
              <a:rPr lang="de-DE" b="0" dirty="0">
                <a:solidFill>
                  <a:schemeClr val="tx2"/>
                </a:solidFill>
                <a:sym typeface="Wingdings" panose="05000000000000000000" pitchFamily="2" charset="2"/>
              </a:rPr>
              <a:t>Arbeitsgesellschaft als </a:t>
            </a:r>
            <a:r>
              <a:rPr lang="de-DE" b="0" dirty="0">
                <a:solidFill>
                  <a:schemeClr val="accent2"/>
                </a:solidFill>
                <a:sym typeface="Wingdings" panose="05000000000000000000" pitchFamily="2" charset="2"/>
              </a:rPr>
              <a:t>Industriegesellschaft</a:t>
            </a:r>
            <a:r>
              <a:rPr lang="de-DE" b="0" dirty="0">
                <a:solidFill>
                  <a:schemeClr val="tx2"/>
                </a:solidFill>
                <a:sym typeface="Wingdings" panose="05000000000000000000" pitchFamily="2" charset="2"/>
              </a:rPr>
              <a:t> (bis 1960er)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b="1" dirty="0">
                <a:solidFill>
                  <a:schemeClr val="tx2"/>
                </a:solidFill>
                <a:sym typeface="Wingdings" panose="05000000000000000000" pitchFamily="2" charset="2"/>
              </a:rPr>
              <a:t>Industrielle Produktion </a:t>
            </a:r>
            <a:r>
              <a:rPr lang="de-DE" dirty="0">
                <a:solidFill>
                  <a:schemeClr val="tx2"/>
                </a:solidFill>
                <a:sym typeface="Wingdings" panose="05000000000000000000" pitchFamily="2" charset="2"/>
              </a:rPr>
              <a:t>&amp; Arbeitsdisziplin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b="1" dirty="0">
                <a:solidFill>
                  <a:schemeClr val="tx2"/>
                </a:solidFill>
                <a:sym typeface="Wingdings" panose="05000000000000000000" pitchFamily="2" charset="2"/>
              </a:rPr>
              <a:t>Urbanisierung</a:t>
            </a:r>
            <a:r>
              <a:rPr lang="de-DE" b="0" dirty="0">
                <a:solidFill>
                  <a:schemeClr val="tx2"/>
                </a:solidFill>
                <a:sym typeface="Wingdings" panose="05000000000000000000" pitchFamily="2" charset="2"/>
              </a:rPr>
              <a:t> &amp; Erhöhung </a:t>
            </a:r>
            <a:r>
              <a:rPr lang="de-DE" b="1" dirty="0">
                <a:solidFill>
                  <a:schemeClr val="tx2"/>
                </a:solidFill>
                <a:sym typeface="Wingdings" panose="05000000000000000000" pitchFamily="2" charset="2"/>
              </a:rPr>
              <a:t>Lebensstandards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b="1" dirty="0">
                <a:solidFill>
                  <a:schemeClr val="tx2"/>
                </a:solidFill>
                <a:sym typeface="Wingdings" panose="05000000000000000000" pitchFamily="2" charset="2"/>
              </a:rPr>
              <a:t>Interessenskonflikt</a:t>
            </a:r>
            <a:r>
              <a:rPr lang="de-DE" b="0" dirty="0">
                <a:solidFill>
                  <a:schemeClr val="tx2"/>
                </a:solidFill>
                <a:sym typeface="Wingdings" panose="05000000000000000000" pitchFamily="2" charset="2"/>
              </a:rPr>
              <a:t> zwischen </a:t>
            </a:r>
            <a:r>
              <a:rPr lang="de-DE" dirty="0">
                <a:solidFill>
                  <a:schemeClr val="tx2"/>
                </a:solidFill>
                <a:sym typeface="Wingdings" panose="05000000000000000000" pitchFamily="2" charset="2"/>
              </a:rPr>
              <a:t>‚</a:t>
            </a:r>
            <a:r>
              <a:rPr lang="de-DE" b="0" dirty="0">
                <a:solidFill>
                  <a:schemeClr val="tx2"/>
                </a:solidFill>
                <a:sym typeface="Wingdings" panose="05000000000000000000" pitchFamily="2" charset="2"/>
              </a:rPr>
              <a:t>Kapita</a:t>
            </a:r>
            <a:r>
              <a:rPr lang="de-DE" dirty="0">
                <a:solidFill>
                  <a:schemeClr val="tx2"/>
                </a:solidFill>
                <a:sym typeface="Wingdings" panose="05000000000000000000" pitchFamily="2" charset="2"/>
              </a:rPr>
              <a:t>l‘ &amp; ‚Arbeit‘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b="0" dirty="0">
              <a:solidFill>
                <a:schemeClr val="tx2"/>
              </a:solidFill>
              <a:sym typeface="Wingdings" panose="05000000000000000000" pitchFamily="2" charset="2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dirty="0">
                <a:solidFill>
                  <a:schemeClr val="tx2"/>
                </a:solidFill>
                <a:sym typeface="Wingdings" panose="05000000000000000000" pitchFamily="2" charset="2"/>
              </a:rPr>
              <a:t>2) </a:t>
            </a:r>
            <a:r>
              <a:rPr lang="de-DE" b="0" dirty="0">
                <a:solidFill>
                  <a:schemeClr val="tx2"/>
                </a:solidFill>
                <a:sym typeface="Wingdings" panose="05000000000000000000" pitchFamily="2" charset="2"/>
              </a:rPr>
              <a:t>Arbeitsgesellschaft als </a:t>
            </a:r>
            <a:r>
              <a:rPr lang="de-DE" b="0" dirty="0">
                <a:solidFill>
                  <a:schemeClr val="accent2"/>
                </a:solidFill>
                <a:sym typeface="Wingdings" panose="05000000000000000000" pitchFamily="2" charset="2"/>
              </a:rPr>
              <a:t>Dienstleistungsgesellschaft</a:t>
            </a:r>
            <a:r>
              <a:rPr lang="de-DE" b="0" dirty="0">
                <a:solidFill>
                  <a:schemeClr val="tx2"/>
                </a:solidFill>
                <a:sym typeface="Wingdings" panose="05000000000000000000" pitchFamily="2" charset="2"/>
              </a:rPr>
              <a:t> (ab 1960er)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b="1" dirty="0">
                <a:solidFill>
                  <a:schemeClr val="tx2"/>
                </a:solidFill>
                <a:sym typeface="Wingdings" panose="05000000000000000000" pitchFamily="2" charset="2"/>
              </a:rPr>
              <a:t>Interaktive</a:t>
            </a:r>
            <a:r>
              <a:rPr lang="de-DE" dirty="0">
                <a:solidFill>
                  <a:schemeClr val="tx2"/>
                </a:solidFill>
                <a:sym typeface="Wingdings" panose="05000000000000000000" pitchFamily="2" charset="2"/>
              </a:rPr>
              <a:t>, selbst übertragbare mit </a:t>
            </a:r>
            <a:r>
              <a:rPr lang="de-DE" b="1" dirty="0">
                <a:solidFill>
                  <a:schemeClr val="tx2"/>
                </a:solidFill>
                <a:sym typeface="Wingdings" panose="05000000000000000000" pitchFamily="2" charset="2"/>
              </a:rPr>
              <a:t>Unsicherheiten verbundene </a:t>
            </a:r>
            <a:r>
              <a:rPr lang="de-DE" dirty="0">
                <a:solidFill>
                  <a:schemeClr val="tx2"/>
                </a:solidFill>
                <a:sym typeface="Wingdings" panose="05000000000000000000" pitchFamily="2" charset="2"/>
              </a:rPr>
              <a:t>Tätigkeiten  </a:t>
            </a:r>
            <a:r>
              <a:rPr lang="de-DE" b="1" dirty="0">
                <a:solidFill>
                  <a:schemeClr val="tx2"/>
                </a:solidFill>
                <a:sym typeface="Wingdings" panose="05000000000000000000" pitchFamily="2" charset="2"/>
              </a:rPr>
              <a:t>Uno-Actu-Prinzip </a:t>
            </a:r>
            <a:r>
              <a:rPr lang="de-DE" dirty="0">
                <a:solidFill>
                  <a:schemeClr val="tx2"/>
                </a:solidFill>
                <a:sym typeface="Wingdings" panose="05000000000000000000" pitchFamily="2" charset="2"/>
              </a:rPr>
              <a:t>(zeitlich Zusammenfallend)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b="0" dirty="0">
                <a:solidFill>
                  <a:schemeClr val="tx2"/>
                </a:solidFill>
                <a:sym typeface="Wingdings" panose="05000000000000000000" pitchFamily="2" charset="2"/>
              </a:rPr>
              <a:t>2019: 74,7 % im Tertiären Sektor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287784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000" y="167826"/>
            <a:ext cx="7560000" cy="468000"/>
          </a:xfrm>
        </p:spPr>
        <p:txBody>
          <a:bodyPr/>
          <a:lstStyle/>
          <a:p>
            <a:r>
              <a:rPr lang="de-DE" dirty="0"/>
              <a:t>Arbeit: Daten 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0000" y="526240"/>
            <a:ext cx="8082439" cy="3890449"/>
          </a:xfrm>
        </p:spPr>
        <p:txBody>
          <a:bodyPr/>
          <a:lstStyle/>
          <a:p>
            <a:pPr>
              <a:lnSpc>
                <a:spcPct val="100000"/>
              </a:lnSpc>
              <a:spcAft>
                <a:spcPts val="800"/>
              </a:spcAft>
            </a:pPr>
            <a:r>
              <a:rPr lang="de-DE" sz="1700" b="0" dirty="0">
                <a:sym typeface="Wingdings" panose="05000000000000000000" pitchFamily="2" charset="2"/>
              </a:rPr>
              <a:t>Beteiligung:</a:t>
            </a:r>
          </a:p>
          <a:p>
            <a:pPr marL="285750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700" b="0" dirty="0">
                <a:sym typeface="Wingdings" panose="05000000000000000000" pitchFamily="2" charset="2"/>
              </a:rPr>
              <a:t>44,792 Mio. Erwerbstätige in DE</a:t>
            </a:r>
          </a:p>
          <a:p>
            <a:pPr marL="285750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700" b="0" dirty="0">
                <a:sym typeface="Wingdings" panose="05000000000000000000" pitchFamily="2" charset="2"/>
              </a:rPr>
              <a:t>1,8 Mio. Erwerbslose </a:t>
            </a:r>
            <a:r>
              <a:rPr lang="de-DE" sz="1700" dirty="0">
                <a:sym typeface="Wingdings" panose="05000000000000000000" pitchFamily="2" charset="2"/>
              </a:rPr>
              <a:t>(Erwerbslosenquote 4%)</a:t>
            </a:r>
          </a:p>
          <a:p>
            <a:pPr>
              <a:lnSpc>
                <a:spcPct val="100000"/>
              </a:lnSpc>
              <a:spcAft>
                <a:spcPts val="800"/>
              </a:spcAft>
            </a:pPr>
            <a:r>
              <a:rPr lang="de-DE" sz="1700" b="0" dirty="0">
                <a:sym typeface="Wingdings" panose="05000000000000000000" pitchFamily="2" charset="2"/>
              </a:rPr>
              <a:t>Sektoren:</a:t>
            </a:r>
          </a:p>
          <a:p>
            <a:pPr marL="285750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700" b="0" dirty="0">
                <a:sym typeface="Wingdings" panose="05000000000000000000" pitchFamily="2" charset="2"/>
              </a:rPr>
              <a:t>Produzierendes Gewerbe: 10 ½ Mio.; Land-Fortwirtschaft, Fischerei:  ½ Mio.; </a:t>
            </a:r>
            <a:r>
              <a:rPr lang="de-DE" sz="1700" dirty="0">
                <a:sym typeface="Wingdings" panose="05000000000000000000" pitchFamily="2" charset="2"/>
              </a:rPr>
              <a:t>Dienstleistungen: 33 ½ Mio. </a:t>
            </a:r>
          </a:p>
          <a:p>
            <a:pPr>
              <a:lnSpc>
                <a:spcPct val="100000"/>
              </a:lnSpc>
              <a:spcAft>
                <a:spcPts val="800"/>
              </a:spcAft>
            </a:pPr>
            <a:r>
              <a:rPr lang="de-DE" sz="1700" b="0" dirty="0">
                <a:sym typeface="Wingdings" panose="05000000000000000000" pitchFamily="2" charset="2"/>
              </a:rPr>
              <a:t>Altersstruktur:</a:t>
            </a:r>
          </a:p>
          <a:p>
            <a:pPr marL="285750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700" b="0" dirty="0">
                <a:sym typeface="Wingdings" panose="05000000000000000000" pitchFamily="2" charset="2"/>
              </a:rPr>
              <a:t>Staatliche Beschränkungen (Vollzeitschulpflicht [6 J Vollzeit/ 3 J. Halbzeit]  &amp; Rentenalter [bis 2029 67. LJ])</a:t>
            </a:r>
          </a:p>
          <a:p>
            <a:pPr marL="285750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700" dirty="0">
                <a:sym typeface="Wingdings" panose="05000000000000000000" pitchFamily="2" charset="2"/>
              </a:rPr>
              <a:t>Spätere Eintritt </a:t>
            </a:r>
            <a:r>
              <a:rPr lang="de-DE" sz="1700" b="0" dirty="0">
                <a:sym typeface="Wingdings" panose="05000000000000000000" pitchFamily="2" charset="2"/>
              </a:rPr>
              <a:t>(Bildungslänge) &amp; </a:t>
            </a:r>
            <a:r>
              <a:rPr lang="de-DE" sz="1700" dirty="0">
                <a:sym typeface="Wingdings" panose="05000000000000000000" pitchFamily="2" charset="2"/>
              </a:rPr>
              <a:t>spätere Ausstieg </a:t>
            </a:r>
            <a:r>
              <a:rPr lang="de-DE" sz="1700" b="0" dirty="0">
                <a:sym typeface="Wingdings" panose="05000000000000000000" pitchFamily="2" charset="2"/>
              </a:rPr>
              <a:t>(Regeleintrittsalter)</a:t>
            </a:r>
          </a:p>
          <a:p>
            <a:pPr marL="285750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700" dirty="0">
                <a:sym typeface="Wingdings" panose="05000000000000000000" pitchFamily="2" charset="2"/>
              </a:rPr>
              <a:t>Hälfte der Beschäftigten </a:t>
            </a:r>
            <a:r>
              <a:rPr lang="de-DE" sz="1700" b="0" dirty="0">
                <a:sym typeface="Wingdings" panose="05000000000000000000" pitchFamily="2" charset="2"/>
              </a:rPr>
              <a:t>gehören Alter </a:t>
            </a:r>
            <a:r>
              <a:rPr lang="de-DE" sz="1700" dirty="0">
                <a:sym typeface="Wingdings" panose="05000000000000000000" pitchFamily="2" charset="2"/>
              </a:rPr>
              <a:t>30-50 J</a:t>
            </a:r>
            <a:r>
              <a:rPr lang="de-DE" sz="1700" b="0" dirty="0">
                <a:sym typeface="Wingdings" panose="05000000000000000000" pitchFamily="2" charset="2"/>
              </a:rPr>
              <a:t>. an </a:t>
            </a:r>
          </a:p>
          <a:p>
            <a:pPr marL="285750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700" b="0" dirty="0">
                <a:sym typeface="Wingdings" panose="05000000000000000000" pitchFamily="2" charset="2"/>
              </a:rPr>
              <a:t>Alte Kohorte (50+ (32%)  über letzten 10 Jahre um 6% angestiegen</a:t>
            </a:r>
          </a:p>
          <a:p>
            <a:pPr marL="285750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700" b="0" dirty="0">
              <a:sym typeface="Wingdings" panose="05000000000000000000" pitchFamily="2" charset="2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6</a:t>
            </a:fld>
            <a:r>
              <a:rPr lang="de-DE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341307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000" y="167826"/>
            <a:ext cx="7560000" cy="468000"/>
          </a:xfrm>
        </p:spPr>
        <p:txBody>
          <a:bodyPr/>
          <a:lstStyle/>
          <a:p>
            <a:r>
              <a:rPr lang="de-DE" dirty="0"/>
              <a:t>Arbeit: Wandel in Arbeitsgesellschaf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0000" y="675282"/>
            <a:ext cx="8659897" cy="3264620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700" b="0" dirty="0">
                <a:sym typeface="Wingdings" panose="05000000000000000000" pitchFamily="2" charset="2"/>
              </a:rPr>
              <a:t>Drei Trend: Dienstleistungen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700" dirty="0">
                <a:sym typeface="Wingdings" panose="05000000000000000000" pitchFamily="2" charset="2"/>
              </a:rPr>
              <a:t>1) </a:t>
            </a:r>
            <a:r>
              <a:rPr lang="de-DE" sz="1700" dirty="0">
                <a:solidFill>
                  <a:schemeClr val="accent2"/>
                </a:solidFill>
                <a:sym typeface="Wingdings" panose="05000000000000000000" pitchFamily="2" charset="2"/>
              </a:rPr>
              <a:t>Vielfalt</a:t>
            </a:r>
            <a:r>
              <a:rPr lang="de-DE" sz="1700" b="0" dirty="0">
                <a:sym typeface="Wingdings" panose="05000000000000000000" pitchFamily="2" charset="2"/>
              </a:rPr>
              <a:t> 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700" b="0" dirty="0">
                <a:sym typeface="Wingdings" panose="05000000000000000000" pitchFamily="2" charset="2"/>
              </a:rPr>
              <a:t>Unterscheidung zwischen 1) produktionsbezogenen 2) distributive 3) persönlich 4) soziale Dienstleistungen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700" dirty="0">
                <a:sym typeface="Wingdings" panose="05000000000000000000" pitchFamily="2" charset="2"/>
              </a:rPr>
              <a:t>2) </a:t>
            </a:r>
            <a:r>
              <a:rPr lang="de-DE" sz="1700" b="0" dirty="0">
                <a:sym typeface="Wingdings" panose="05000000000000000000" pitchFamily="2" charset="2"/>
              </a:rPr>
              <a:t>Zunehmende Bedeutung </a:t>
            </a:r>
            <a:r>
              <a:rPr lang="de-DE" sz="1700" dirty="0">
                <a:solidFill>
                  <a:schemeClr val="accent2"/>
                </a:solidFill>
                <a:sym typeface="Wingdings" panose="05000000000000000000" pitchFamily="2" charset="2"/>
              </a:rPr>
              <a:t>wissensbasierter</a:t>
            </a:r>
            <a:r>
              <a:rPr lang="de-DE" sz="1700" b="0" dirty="0">
                <a:solidFill>
                  <a:schemeClr val="accent2"/>
                </a:solidFill>
                <a:sym typeface="Wingdings" panose="05000000000000000000" pitchFamily="2" charset="2"/>
              </a:rPr>
              <a:t> </a:t>
            </a:r>
            <a:r>
              <a:rPr lang="de-DE" sz="1700" dirty="0">
                <a:solidFill>
                  <a:schemeClr val="accent2"/>
                </a:solidFill>
                <a:sym typeface="Wingdings" panose="05000000000000000000" pitchFamily="2" charset="2"/>
              </a:rPr>
              <a:t>Tätigkeiten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700" b="0" dirty="0">
                <a:sym typeface="Wingdings" panose="05000000000000000000" pitchFamily="2" charset="2"/>
              </a:rPr>
              <a:t>‚Wissensgesellschaft‘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700" b="0" dirty="0">
                <a:sym typeface="Wingdings" panose="05000000000000000000" pitchFamily="2" charset="2"/>
              </a:rPr>
              <a:t>Dienen der Identifizierung &amp; Lösung von Problemen &amp; zur Kommunikation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700" b="0" dirty="0">
                <a:sym typeface="Wingdings" panose="05000000000000000000" pitchFamily="2" charset="2"/>
              </a:rPr>
              <a:t>41,1 % im Bereich wissensintensiver Dienstleistungen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700" b="0" dirty="0">
                <a:sym typeface="Wingdings" panose="05000000000000000000" pitchFamily="2" charset="2"/>
              </a:rPr>
              <a:t>Einhergehend mit höherem Bildungsniveau 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700" dirty="0">
                <a:sym typeface="Wingdings" panose="05000000000000000000" pitchFamily="2" charset="2"/>
              </a:rPr>
              <a:t>3) </a:t>
            </a:r>
            <a:r>
              <a:rPr lang="de-DE" sz="1700" b="0" dirty="0">
                <a:sym typeface="Wingdings" panose="05000000000000000000" pitchFamily="2" charset="2"/>
              </a:rPr>
              <a:t>Einbezug von </a:t>
            </a:r>
            <a:r>
              <a:rPr lang="de-DE" sz="1700" dirty="0">
                <a:solidFill>
                  <a:schemeClr val="accent2"/>
                </a:solidFill>
                <a:sym typeface="Wingdings" panose="05000000000000000000" pitchFamily="2" charset="2"/>
              </a:rPr>
              <a:t>Frauen</a:t>
            </a:r>
            <a:r>
              <a:rPr lang="de-DE" sz="1700" b="0" dirty="0">
                <a:sym typeface="Wingdings" panose="05000000000000000000" pitchFamily="2" charset="2"/>
              </a:rPr>
              <a:t> 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7</a:t>
            </a:fld>
            <a:r>
              <a:rPr lang="de-DE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2928105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000" y="167826"/>
            <a:ext cx="7560000" cy="468000"/>
          </a:xfrm>
        </p:spPr>
        <p:txBody>
          <a:bodyPr/>
          <a:lstStyle/>
          <a:p>
            <a:r>
              <a:rPr lang="de-DE" dirty="0"/>
              <a:t>Arbeit: nach Geschlecht 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0000" y="748688"/>
            <a:ext cx="8082439" cy="3890449"/>
          </a:xfrm>
        </p:spPr>
        <p:txBody>
          <a:bodyPr/>
          <a:lstStyle/>
          <a:p>
            <a:pPr marL="285750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700" dirty="0">
                <a:sym typeface="Wingdings" panose="05000000000000000000" pitchFamily="2" charset="2"/>
              </a:rPr>
              <a:t>Frauenanteil </a:t>
            </a:r>
            <a:r>
              <a:rPr lang="de-DE" sz="1700" b="0" dirty="0">
                <a:sym typeface="Wingdings" panose="05000000000000000000" pitchFamily="2" charset="2"/>
              </a:rPr>
              <a:t>in Arbeitswelt </a:t>
            </a:r>
            <a:r>
              <a:rPr lang="de-DE" sz="1700" dirty="0">
                <a:sym typeface="Wingdings" panose="05000000000000000000" pitchFamily="2" charset="2"/>
              </a:rPr>
              <a:t>46,6%</a:t>
            </a:r>
          </a:p>
          <a:p>
            <a:pPr marL="285750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700" b="0" dirty="0">
                <a:sym typeface="Wingdings" panose="05000000000000000000" pitchFamily="2" charset="2"/>
              </a:rPr>
              <a:t>Unterschiedliche Beteiligung  jede 3. Führungskraft w. </a:t>
            </a:r>
          </a:p>
          <a:p>
            <a:pPr marL="285750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700" b="0" dirty="0">
                <a:sym typeface="Wingdings" panose="05000000000000000000" pitchFamily="2" charset="2"/>
              </a:rPr>
              <a:t>77.8% arbeiten in Teilzeit</a:t>
            </a:r>
          </a:p>
          <a:p>
            <a:pPr>
              <a:lnSpc>
                <a:spcPct val="100000"/>
              </a:lnSpc>
              <a:spcAft>
                <a:spcPts val="800"/>
              </a:spcAft>
            </a:pPr>
            <a:r>
              <a:rPr lang="de-DE" sz="1700" b="0" dirty="0">
                <a:sym typeface="Wingdings" panose="05000000000000000000" pitchFamily="2" charset="2"/>
              </a:rPr>
              <a:t>Hürden</a:t>
            </a:r>
            <a:r>
              <a:rPr lang="de-DE" sz="1700" dirty="0">
                <a:sym typeface="Wingdings" panose="05000000000000000000" pitchFamily="2" charset="2"/>
              </a:rPr>
              <a:t>:</a:t>
            </a:r>
          </a:p>
          <a:p>
            <a:pPr marL="285750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700" dirty="0">
                <a:sym typeface="Wingdings" panose="05000000000000000000" pitchFamily="2" charset="2"/>
              </a:rPr>
              <a:t>„Anderthalb-Personen Karriere</a:t>
            </a:r>
            <a:r>
              <a:rPr lang="de-DE" sz="1700" b="0" dirty="0">
                <a:sym typeface="Wingdings" panose="05000000000000000000" pitchFamily="2" charset="2"/>
              </a:rPr>
              <a:t>“  blockiert berufliche Karrieren (Vereinbarkeit von Familie &amp; Beruf)</a:t>
            </a:r>
          </a:p>
          <a:p>
            <a:pPr marL="285750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700" b="0" dirty="0">
                <a:sym typeface="Wingdings" panose="05000000000000000000" pitchFamily="2" charset="2"/>
              </a:rPr>
              <a:t>Traditionelle </a:t>
            </a:r>
            <a:r>
              <a:rPr lang="de-DE" sz="1700" dirty="0">
                <a:sym typeface="Wingdings" panose="05000000000000000000" pitchFamily="2" charset="2"/>
              </a:rPr>
              <a:t>Rollenerwartung</a:t>
            </a:r>
            <a:r>
              <a:rPr lang="de-DE" sz="1700" b="0" dirty="0">
                <a:sym typeface="Wingdings" panose="05000000000000000000" pitchFamily="2" charset="2"/>
              </a:rPr>
              <a:t>  Sorgearbeit überwiegend von Frauen erledigt</a:t>
            </a:r>
          </a:p>
          <a:p>
            <a:pPr>
              <a:lnSpc>
                <a:spcPct val="100000"/>
              </a:lnSpc>
              <a:spcAft>
                <a:spcPts val="800"/>
              </a:spcAft>
            </a:pPr>
            <a:endParaRPr lang="de-DE" sz="1700" b="0" dirty="0">
              <a:sym typeface="Wingdings" panose="05000000000000000000" pitchFamily="2" charset="2"/>
            </a:endParaRPr>
          </a:p>
          <a:p>
            <a:pPr>
              <a:lnSpc>
                <a:spcPct val="100000"/>
              </a:lnSpc>
              <a:spcAft>
                <a:spcPts val="800"/>
              </a:spcAft>
            </a:pPr>
            <a:r>
              <a:rPr lang="de-DE" sz="1700" b="0" dirty="0">
                <a:sym typeface="Wingdings" panose="05000000000000000000" pitchFamily="2" charset="2"/>
              </a:rPr>
              <a:t> These: </a:t>
            </a:r>
            <a:r>
              <a:rPr lang="de-DE" sz="1700" dirty="0">
                <a:sym typeface="Wingdings" panose="05000000000000000000" pitchFamily="2" charset="2"/>
              </a:rPr>
              <a:t>starker Einbezug Frauen bei ungleicher Beteiligung</a:t>
            </a:r>
          </a:p>
          <a:p>
            <a:pPr>
              <a:lnSpc>
                <a:spcPct val="100000"/>
              </a:lnSpc>
              <a:spcAft>
                <a:spcPts val="800"/>
              </a:spcAft>
            </a:pPr>
            <a:endParaRPr lang="de-DE" sz="1700" b="0" dirty="0">
              <a:sym typeface="Wingdings" panose="05000000000000000000" pitchFamily="2" charset="2"/>
            </a:endParaRPr>
          </a:p>
          <a:p>
            <a:pPr marL="285750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700" b="0" dirty="0">
              <a:sym typeface="Wingdings" panose="05000000000000000000" pitchFamily="2" charset="2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8</a:t>
            </a:fld>
            <a:r>
              <a:rPr lang="de-DE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403799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000" y="167826"/>
            <a:ext cx="7560000" cy="468000"/>
          </a:xfrm>
        </p:spPr>
        <p:txBody>
          <a:bodyPr/>
          <a:lstStyle/>
          <a:p>
            <a:r>
              <a:rPr lang="de-DE" dirty="0"/>
              <a:t>Arbeit: nach Geschlecht: Folg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0000" y="693274"/>
            <a:ext cx="8694000" cy="3890449"/>
          </a:xfrm>
        </p:spPr>
        <p:txBody>
          <a:bodyPr/>
          <a:lstStyle/>
          <a:p>
            <a:pPr>
              <a:lnSpc>
                <a:spcPct val="100000"/>
              </a:lnSpc>
              <a:spcAft>
                <a:spcPts val="800"/>
              </a:spcAft>
            </a:pPr>
            <a:r>
              <a:rPr lang="de-DE" sz="1700" b="0" dirty="0">
                <a:sym typeface="Wingdings" panose="05000000000000000000" pitchFamily="2" charset="2"/>
              </a:rPr>
              <a:t>Folgen: </a:t>
            </a:r>
          </a:p>
          <a:p>
            <a:pPr marL="285750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700" b="0" dirty="0">
                <a:sym typeface="Wingdings" panose="05000000000000000000" pitchFamily="2" charset="2"/>
              </a:rPr>
              <a:t>Junge </a:t>
            </a:r>
            <a:r>
              <a:rPr lang="de-DE" sz="1700" dirty="0">
                <a:sym typeface="Wingdings" panose="05000000000000000000" pitchFamily="2" charset="2"/>
              </a:rPr>
              <a:t>Mutter</a:t>
            </a:r>
            <a:r>
              <a:rPr lang="de-DE" sz="1700" b="0" dirty="0">
                <a:sym typeface="Wingdings" panose="05000000000000000000" pitchFamily="2" charset="2"/>
              </a:rPr>
              <a:t> deutlich </a:t>
            </a:r>
            <a:r>
              <a:rPr lang="de-DE" sz="1700" dirty="0">
                <a:sym typeface="Wingdings" panose="05000000000000000000" pitchFamily="2" charset="2"/>
              </a:rPr>
              <a:t>geringer Erwerbstätig </a:t>
            </a:r>
            <a:r>
              <a:rPr lang="de-DE" sz="1700" b="0" dirty="0">
                <a:sym typeface="Wingdings" panose="05000000000000000000" pitchFamily="2" charset="2"/>
              </a:rPr>
              <a:t>(W: 31% vs. M:84%) oder in Teilzeit  „</a:t>
            </a:r>
            <a:r>
              <a:rPr lang="de-DE" sz="1700" dirty="0">
                <a:sym typeface="Wingdings" panose="05000000000000000000" pitchFamily="2" charset="2"/>
              </a:rPr>
              <a:t>modernisiertes </a:t>
            </a:r>
            <a:r>
              <a:rPr lang="de-DE" sz="1700" dirty="0" err="1">
                <a:sym typeface="Wingdings" panose="05000000000000000000" pitchFamily="2" charset="2"/>
              </a:rPr>
              <a:t>Ernährermodell</a:t>
            </a:r>
            <a:r>
              <a:rPr lang="de-DE" sz="1700" b="0" dirty="0">
                <a:sym typeface="Wingdings" panose="05000000000000000000" pitchFamily="2" charset="2"/>
              </a:rPr>
              <a:t>“</a:t>
            </a:r>
          </a:p>
          <a:p>
            <a:pPr marL="285750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700" b="0" dirty="0">
                <a:sym typeface="Wingdings" panose="05000000000000000000" pitchFamily="2" charset="2"/>
              </a:rPr>
              <a:t>‚Karriere Frauen‘ bekommen deutlich weniger Kinder</a:t>
            </a:r>
          </a:p>
          <a:p>
            <a:pPr marL="285750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700" dirty="0">
                <a:sym typeface="Wingdings" panose="05000000000000000000" pitchFamily="2" charset="2"/>
              </a:rPr>
              <a:t>Outsourcing</a:t>
            </a:r>
            <a:r>
              <a:rPr lang="de-DE" sz="1700" b="0" dirty="0">
                <a:sym typeface="Wingdings" panose="05000000000000000000" pitchFamily="2" charset="2"/>
              </a:rPr>
              <a:t> von Haus- und </a:t>
            </a:r>
            <a:r>
              <a:rPr lang="de-DE" sz="1700" dirty="0">
                <a:sym typeface="Wingdings" panose="05000000000000000000" pitchFamily="2" charset="2"/>
              </a:rPr>
              <a:t>Sorgearbeit</a:t>
            </a:r>
            <a:r>
              <a:rPr lang="de-DE" sz="1700" b="0" dirty="0">
                <a:sym typeface="Wingdings" panose="05000000000000000000" pitchFamily="2" charset="2"/>
              </a:rPr>
              <a:t>  </a:t>
            </a:r>
            <a:r>
              <a:rPr lang="de-DE" sz="1000" b="0" dirty="0">
                <a:sym typeface="Wingdings" panose="05000000000000000000" pitchFamily="2" charset="2"/>
              </a:rPr>
              <a:t>(Nebenphänomen: prekäre Bedingungen für </a:t>
            </a:r>
            <a:r>
              <a:rPr lang="de-DE" sz="1000" b="0" i="1" dirty="0" err="1">
                <a:sym typeface="Wingdings" panose="05000000000000000000" pitchFamily="2" charset="2"/>
              </a:rPr>
              <a:t>undocumented</a:t>
            </a:r>
            <a:r>
              <a:rPr lang="de-DE" sz="1000" b="0" i="1" dirty="0">
                <a:sym typeface="Wingdings" panose="05000000000000000000" pitchFamily="2" charset="2"/>
              </a:rPr>
              <a:t> </a:t>
            </a:r>
            <a:r>
              <a:rPr lang="de-DE" sz="1000" b="0" i="1" dirty="0" err="1">
                <a:sym typeface="Wingdings" panose="05000000000000000000" pitchFamily="2" charset="2"/>
              </a:rPr>
              <a:t>workers</a:t>
            </a:r>
            <a:r>
              <a:rPr lang="de-DE" sz="1000" b="0" i="1" dirty="0">
                <a:sym typeface="Wingdings" panose="05000000000000000000" pitchFamily="2" charset="2"/>
              </a:rPr>
              <a:t>)</a:t>
            </a:r>
          </a:p>
          <a:p>
            <a:pPr marL="285750" indent="-285750">
              <a:lnSpc>
                <a:spcPct val="100000"/>
              </a:lnSpc>
              <a:spcAft>
                <a:spcPts val="800"/>
              </a:spcAft>
              <a:buFont typeface="Wingdings" panose="05000000000000000000" pitchFamily="2" charset="2"/>
              <a:buChar char="à"/>
            </a:pPr>
            <a:r>
              <a:rPr lang="de-DE" sz="1700" b="0" dirty="0">
                <a:sym typeface="Wingdings" panose="05000000000000000000" pitchFamily="2" charset="2"/>
              </a:rPr>
              <a:t>Fortbestehende </a:t>
            </a:r>
            <a:r>
              <a:rPr lang="de-DE" sz="1700" dirty="0">
                <a:sym typeface="Wingdings" panose="05000000000000000000" pitchFamily="2" charset="2"/>
              </a:rPr>
              <a:t>Benachteiligung</a:t>
            </a:r>
            <a:r>
              <a:rPr lang="de-DE" sz="1700" b="0" dirty="0">
                <a:sym typeface="Wingdings" panose="05000000000000000000" pitchFamily="2" charset="2"/>
              </a:rPr>
              <a:t> im Erwerbsleben (z.B. Führungsposition/ Bezahlung)</a:t>
            </a:r>
          </a:p>
          <a:p>
            <a:pPr marL="285750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700" b="1" dirty="0">
                <a:sym typeface="Wingdings" panose="05000000000000000000" pitchFamily="2" charset="2"/>
              </a:rPr>
              <a:t>Gender Pay Gap </a:t>
            </a:r>
            <a:r>
              <a:rPr lang="de-DE" sz="1700" b="0" dirty="0">
                <a:highlight>
                  <a:srgbClr val="FFFF00"/>
                </a:highlight>
                <a:sym typeface="Wingdings" panose="05000000000000000000" pitchFamily="2" charset="2"/>
              </a:rPr>
              <a:t>DEF</a:t>
            </a:r>
            <a:r>
              <a:rPr lang="de-DE" sz="1700" b="0" dirty="0">
                <a:sym typeface="Wingdings" panose="05000000000000000000" pitchFamily="2" charset="2"/>
              </a:rPr>
              <a:t> = </a:t>
            </a:r>
            <a:r>
              <a:rPr lang="de-DE" sz="1700" dirty="0">
                <a:sym typeface="Wingdings" panose="05000000000000000000" pitchFamily="2" charset="2"/>
              </a:rPr>
              <a:t>Differenz</a:t>
            </a:r>
            <a:r>
              <a:rPr lang="de-DE" sz="1700" b="0" dirty="0">
                <a:sym typeface="Wingdings" panose="05000000000000000000" pitchFamily="2" charset="2"/>
              </a:rPr>
              <a:t> des </a:t>
            </a:r>
            <a:r>
              <a:rPr lang="de-DE" sz="1700" dirty="0">
                <a:sym typeface="Wingdings" panose="05000000000000000000" pitchFamily="2" charset="2"/>
              </a:rPr>
              <a:t>durchschnittlichen Bruttostundenverdienst </a:t>
            </a:r>
            <a:r>
              <a:rPr lang="de-DE" sz="1700" b="0" dirty="0">
                <a:sym typeface="Wingdings" panose="05000000000000000000" pitchFamily="2" charset="2"/>
              </a:rPr>
              <a:t>zwischen den Geschlechtern</a:t>
            </a:r>
          </a:p>
          <a:p>
            <a:pPr marL="519750" lvl="2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700" b="0" dirty="0">
                <a:solidFill>
                  <a:schemeClr val="accent2"/>
                </a:solidFill>
                <a:sym typeface="Wingdings" panose="05000000000000000000" pitchFamily="2" charset="2"/>
              </a:rPr>
              <a:t>Unbereinigt</a:t>
            </a:r>
            <a:endParaRPr lang="de-DE" sz="1700" b="1" dirty="0">
              <a:sym typeface="Wingdings" panose="05000000000000000000" pitchFamily="2" charset="2"/>
            </a:endParaRPr>
          </a:p>
          <a:p>
            <a:pPr marL="519750" lvl="2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700" b="0" dirty="0">
                <a:solidFill>
                  <a:schemeClr val="accent2"/>
                </a:solidFill>
                <a:sym typeface="Wingdings" panose="05000000000000000000" pitchFamily="2" charset="2"/>
              </a:rPr>
              <a:t>Bereinigt</a:t>
            </a:r>
            <a:endParaRPr lang="de-DE" sz="1700" b="1" dirty="0">
              <a:sym typeface="Wingdings" panose="05000000000000000000" pitchFamily="2" charset="2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9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27504594-B84D-BA72-7D6E-0FC8A1AB5EF0}"/>
              </a:ext>
            </a:extLst>
          </p:cNvPr>
          <p:cNvSpPr txBox="1"/>
          <p:nvPr/>
        </p:nvSpPr>
        <p:spPr>
          <a:xfrm>
            <a:off x="6084168" y="1419622"/>
            <a:ext cx="2952328" cy="3600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02A45E8D-C1AA-1A68-D7C3-5ED74ABB9035}"/>
              </a:ext>
            </a:extLst>
          </p:cNvPr>
          <p:cNvSpPr txBox="1"/>
          <p:nvPr/>
        </p:nvSpPr>
        <p:spPr>
          <a:xfrm>
            <a:off x="2141808" y="3363838"/>
            <a:ext cx="5868192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700" b="0" dirty="0">
                <a:solidFill>
                  <a:schemeClr val="tx2"/>
                </a:solidFill>
                <a:sym typeface="Wingdings" panose="05000000000000000000" pitchFamily="2" charset="2"/>
              </a:rPr>
              <a:t>= Vergleich Durchschnittsverdienst </a:t>
            </a:r>
            <a:r>
              <a:rPr lang="de-DE" sz="1700" b="1" dirty="0">
                <a:solidFill>
                  <a:schemeClr val="tx2"/>
                </a:solidFill>
                <a:sym typeface="Wingdings" panose="05000000000000000000" pitchFamily="2" charset="2"/>
              </a:rPr>
              <a:t>aller Arbeitnehmer</a:t>
            </a:r>
            <a:endParaRPr lang="de-DE" sz="1700" dirty="0">
              <a:solidFill>
                <a:schemeClr val="tx2"/>
              </a:solidFill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49798B69-B7BA-6F2B-E32C-F37F346E7D49}"/>
              </a:ext>
            </a:extLst>
          </p:cNvPr>
          <p:cNvSpPr txBox="1"/>
          <p:nvPr/>
        </p:nvSpPr>
        <p:spPr>
          <a:xfrm>
            <a:off x="2141808" y="3719596"/>
            <a:ext cx="7110712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700" b="0" dirty="0">
                <a:solidFill>
                  <a:schemeClr val="tx2"/>
                </a:solidFill>
                <a:sym typeface="Wingdings" panose="05000000000000000000" pitchFamily="2" charset="2"/>
              </a:rPr>
              <a:t>= </a:t>
            </a:r>
            <a:r>
              <a:rPr lang="de-DE" sz="1700" dirty="0">
                <a:solidFill>
                  <a:schemeClr val="tx2"/>
                </a:solidFill>
                <a:sym typeface="Wingdings" panose="05000000000000000000" pitchFamily="2" charset="2"/>
              </a:rPr>
              <a:t>Unterschied </a:t>
            </a:r>
            <a:r>
              <a:rPr lang="de-DE" sz="1700" b="0" dirty="0">
                <a:solidFill>
                  <a:schemeClr val="tx2"/>
                </a:solidFill>
                <a:sym typeface="Wingdings" panose="05000000000000000000" pitchFamily="2" charset="2"/>
              </a:rPr>
              <a:t>Männern &amp; Frauen </a:t>
            </a:r>
            <a:r>
              <a:rPr lang="de-DE" sz="1700" b="1" dirty="0">
                <a:solidFill>
                  <a:schemeClr val="tx2"/>
                </a:solidFill>
                <a:sym typeface="Wingdings" panose="05000000000000000000" pitchFamily="2" charset="2"/>
              </a:rPr>
              <a:t>mit vergleichbaren Qualifikationen &amp; Tätigkeiten</a:t>
            </a:r>
            <a:endParaRPr lang="de-DE" sz="1700" b="0" dirty="0">
              <a:solidFill>
                <a:schemeClr val="tx2"/>
              </a:solidFill>
              <a:sym typeface="Wingdings" panose="05000000000000000000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14532734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8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2dcae5b4-0b45-41e0-b5e6-32c713f6a487"/>
  <p:tag name="MIO_EKGUID" val="d6d8f022-aea9-4976-9c74-231287008c88"/>
  <p:tag name="MIO_UPDATE" val="True"/>
  <p:tag name="MIO_VERSION" val="26.10.2018 15:45:09"/>
  <p:tag name="MIO_DBID" val="364BA404-45B5-45E1-875B-889C83467CBF"/>
  <p:tag name="MIO_LASTDOWNLOADED" val="26.10.2018 15:45:09"/>
  <p:tag name="MIO_OBJECTNAME" val="ADAPTION – Migration zum Cyber-physischen PRODUKTIONSSYSTEM"/>
  <p:tag name="MIO_LASTEDITORNAME" val="Stefan Leineweber"/>
  <p:tag name="MIO_STRING_IGNORE_CHECKSUM_FOR_NEXT_SAVE" val="Fals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V2" val="empowerBulletV2"/>
</p:tagLst>
</file>

<file path=ppt/theme/theme1.xml><?xml version="1.0" encoding="utf-8"?>
<a:theme xmlns:a="http://schemas.openxmlformats.org/drawingml/2006/main" name="PowerPoint Master RUB">
  <a:themeElements>
    <a:clrScheme name="RUB">
      <a:dk1>
        <a:sysClr val="windowText" lastClr="000000"/>
      </a:dk1>
      <a:lt1>
        <a:sysClr val="window" lastClr="FFFFFF"/>
      </a:lt1>
      <a:dk2>
        <a:srgbClr val="003560"/>
      </a:dk2>
      <a:lt2>
        <a:srgbClr val="8DAE10"/>
      </a:lt2>
      <a:accent1>
        <a:srgbClr val="FFCC00"/>
      </a:accent1>
      <a:accent2>
        <a:srgbClr val="EE7203"/>
      </a:accent2>
      <a:accent3>
        <a:srgbClr val="E6332A"/>
      </a:accent3>
      <a:accent4>
        <a:srgbClr val="B71E3F"/>
      </a:accent4>
      <a:accent5>
        <a:srgbClr val="9C5516"/>
      </a:accent5>
      <a:accent6>
        <a:srgbClr val="59211C"/>
      </a:accent6>
      <a:hlink>
        <a:srgbClr val="000000"/>
      </a:hlink>
      <a:folHlink>
        <a:srgbClr val="00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PT_RUB_03a.potx" id="{C867D821-36E8-4CDA-B68D-4949E463F39D}" vid="{F84F8B3F-9528-42A9-B5AE-3004D5414502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392</Words>
  <Application>Microsoft Office PowerPoint</Application>
  <PresentationFormat>Bildschirmpräsentation (16:9)</PresentationFormat>
  <Paragraphs>185</Paragraphs>
  <Slides>18</Slides>
  <Notes>1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8</vt:i4>
      </vt:variant>
    </vt:vector>
  </HeadingPairs>
  <TitlesOfParts>
    <vt:vector size="23" baseType="lpstr">
      <vt:lpstr>Arial</vt:lpstr>
      <vt:lpstr>Calibri</vt:lpstr>
      <vt:lpstr>Calibri-Bold</vt:lpstr>
      <vt:lpstr>Wingdings</vt:lpstr>
      <vt:lpstr>PowerPoint Master RUB</vt:lpstr>
      <vt:lpstr>Tutorium zur VL. Sitzung (Teil 17) </vt:lpstr>
      <vt:lpstr>Arbeit: Definition</vt:lpstr>
      <vt:lpstr>Arbeit: Definition</vt:lpstr>
      <vt:lpstr>Arbeit: Bedeutung</vt:lpstr>
      <vt:lpstr>Arbeit: Wandel in Arbeitsgesellschaft</vt:lpstr>
      <vt:lpstr>Arbeit: Daten </vt:lpstr>
      <vt:lpstr>Arbeit: Wandel in Arbeitsgesellschaft</vt:lpstr>
      <vt:lpstr>Arbeit: nach Geschlecht </vt:lpstr>
      <vt:lpstr>Arbeit: nach Geschlecht: Folgen</vt:lpstr>
      <vt:lpstr>Arbeit: nach Geschlecht: Folgen</vt:lpstr>
      <vt:lpstr>Arbeit: Arbeitslos</vt:lpstr>
      <vt:lpstr>PowerPoint-Präsentation</vt:lpstr>
      <vt:lpstr>Arbeit: neuere Phänomene</vt:lpstr>
      <vt:lpstr>Arbeit: neuere Phänomene</vt:lpstr>
      <vt:lpstr>Arbeit: neuere Phänomene</vt:lpstr>
      <vt:lpstr>Arbeit: neuere Phänomene</vt:lpstr>
      <vt:lpstr>Lernziele: elfte Sitzung </vt:lpstr>
      <vt:lpstr>Ausblick: nächste Sitzung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ster Sozialwissenschaft</dc:title>
  <dc:creator>vanessa rau</dc:creator>
  <cp:lastModifiedBy>Stina Ru</cp:lastModifiedBy>
  <cp:revision>73</cp:revision>
  <cp:lastPrinted>2022-05-08T18:17:36Z</cp:lastPrinted>
  <dcterms:created xsi:type="dcterms:W3CDTF">2020-06-22T16:14:58Z</dcterms:created>
  <dcterms:modified xsi:type="dcterms:W3CDTF">2023-01-25T15:15:46Z</dcterms:modified>
</cp:coreProperties>
</file>